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tags/tag1.xml" ContentType="application/vnd.openxmlformats-officedocument.presentationml.tags+xml"/>
  <Override PartName="/ppt/notesSlides/notesSlide7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6"/>
  </p:notesMasterIdLst>
  <p:sldIdLst>
    <p:sldId id="306" r:id="rId3"/>
    <p:sldId id="365" r:id="rId4"/>
    <p:sldId id="394" r:id="rId5"/>
    <p:sldId id="395" r:id="rId6"/>
    <p:sldId id="393" r:id="rId7"/>
    <p:sldId id="392" r:id="rId8"/>
    <p:sldId id="371" r:id="rId9"/>
    <p:sldId id="387" r:id="rId10"/>
    <p:sldId id="389" r:id="rId11"/>
    <p:sldId id="390" r:id="rId12"/>
    <p:sldId id="381" r:id="rId13"/>
    <p:sldId id="391" r:id="rId14"/>
    <p:sldId id="396" r:id="rId15"/>
  </p:sldIdLst>
  <p:sldSz cx="12192000" cy="6858000"/>
  <p:notesSz cx="6858000" cy="9144000"/>
  <p:defaultTextStyle>
    <a:defPPr>
      <a:defRPr lang="ru-RU"/>
    </a:defPPr>
    <a:lvl1pPr marL="0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2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63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45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27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09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090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272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454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68" userDrawn="1">
          <p15:clr>
            <a:srgbClr val="A4A3A4"/>
          </p15:clr>
        </p15:guide>
        <p15:guide id="2" pos="7605" userDrawn="1">
          <p15:clr>
            <a:srgbClr val="A4A3A4"/>
          </p15:clr>
        </p15:guide>
        <p15:guide id="3" orient="horz" pos="119" userDrawn="1">
          <p15:clr>
            <a:srgbClr val="A4A3A4"/>
          </p15:clr>
        </p15:guide>
        <p15:guide id="4" pos="3477" userDrawn="1">
          <p15:clr>
            <a:srgbClr val="A4A3A4"/>
          </p15:clr>
        </p15:guide>
        <p15:guide id="5" orient="horz" pos="1230" userDrawn="1">
          <p15:clr>
            <a:srgbClr val="A4A3A4"/>
          </p15:clr>
        </p15:guide>
        <p15:guide id="6" orient="horz" pos="709" userDrawn="1">
          <p15:clr>
            <a:srgbClr val="A4A3A4"/>
          </p15:clr>
        </p15:guide>
        <p15:guide id="7" pos="506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ganesyan Igor" initials="OI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DE04"/>
    <a:srgbClr val="E46C0A"/>
    <a:srgbClr val="3F12FC"/>
    <a:srgbClr val="FF0000"/>
    <a:srgbClr val="208CEE"/>
    <a:srgbClr val="F15640"/>
    <a:srgbClr val="FF0066"/>
    <a:srgbClr val="3F9FFD"/>
    <a:srgbClr val="FFFFFF"/>
    <a:srgbClr val="168C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A111915-BE36-4E01-A7E5-04B1672EAD32}" styleName="Светлый стиль 2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153" autoAdjust="0"/>
    <p:restoredTop sz="94651" autoAdjust="0"/>
  </p:normalViewPr>
  <p:slideViewPr>
    <p:cSldViewPr snapToGrid="0">
      <p:cViewPr varScale="1">
        <p:scale>
          <a:sx n="105" d="100"/>
          <a:sy n="105" d="100"/>
        </p:scale>
        <p:origin x="630" y="114"/>
      </p:cViewPr>
      <p:guideLst>
        <p:guide orient="horz" pos="2568"/>
        <p:guide pos="7605"/>
        <p:guide orient="horz" pos="119"/>
        <p:guide pos="3477"/>
        <p:guide orient="horz" pos="1230"/>
        <p:guide orient="horz" pos="709"/>
        <p:guide pos="50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50" b="1" i="0" u="none" strike="noStrike" kern="1200" spc="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ru-RU" sz="1050" b="1" dirty="0">
                <a:solidFill>
                  <a:schemeClr val="bg1"/>
                </a:solidFill>
              </a:rPr>
              <a:t>% гриппа </a:t>
            </a:r>
            <a:r>
              <a:rPr lang="ru-RU" sz="1050" b="1" dirty="0" smtClean="0">
                <a:solidFill>
                  <a:schemeClr val="bg1"/>
                </a:solidFill>
              </a:rPr>
              <a:t>среди</a:t>
            </a:r>
          </a:p>
          <a:p>
            <a:pPr>
              <a:defRPr sz="1050" b="1" i="0" u="none" strike="noStrike" kern="1200" spc="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ru-RU" sz="1050" b="1" dirty="0" smtClean="0">
                <a:solidFill>
                  <a:schemeClr val="bg1"/>
                </a:solidFill>
              </a:rPr>
              <a:t> </a:t>
            </a:r>
            <a:r>
              <a:rPr lang="ru-RU" sz="1050" b="1" dirty="0">
                <a:solidFill>
                  <a:schemeClr val="bg1"/>
                </a:solidFill>
              </a:rPr>
              <a:t>обратившихся</a:t>
            </a:r>
          </a:p>
        </c:rich>
      </c:tx>
      <c:layout>
        <c:manualLayout>
          <c:xMode val="edge"/>
          <c:yMode val="edge"/>
          <c:x val="0.42527495327578002"/>
          <c:y val="0.69804632045437698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5.0471186181011998E-2"/>
          <c:y val="0.12910520629064801"/>
          <c:w val="0.89555862203821401"/>
          <c:h val="0.73517620988391996"/>
        </c:manualLayout>
      </c:layout>
      <c:area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13-14</c:v>
                </c:pt>
              </c:strCache>
            </c:strRef>
          </c:tx>
          <c:spPr>
            <a:solidFill>
              <a:srgbClr val="E46C0A"/>
            </a:solidFill>
            <a:ln>
              <a:noFill/>
            </a:ln>
            <a:effectLst/>
          </c:spPr>
          <c:cat>
            <c:numRef>
              <c:f>Лист1!$A$2:$A$54</c:f>
              <c:numCache>
                <c:formatCode>General</c:formatCode>
                <c:ptCount val="53"/>
                <c:pt idx="0" formatCode="[$-419]d\ mmm;@">
                  <c:v>41518</c:v>
                </c:pt>
                <c:pt idx="13" formatCode="[$-419]d\ mmm;@">
                  <c:v>41609</c:v>
                </c:pt>
                <c:pt idx="26" formatCode="[$-419]d\ mmm;@">
                  <c:v>42796</c:v>
                </c:pt>
                <c:pt idx="39" formatCode="[$-419]d\ mmm;@">
                  <c:v>41791</c:v>
                </c:pt>
              </c:numCache>
            </c:numRef>
          </c:cat>
          <c:val>
            <c:numRef>
              <c:f>Лист1!$B$2:$B$54</c:f>
              <c:numCache>
                <c:formatCode>0%</c:formatCode>
                <c:ptCount val="53"/>
                <c:pt idx="0">
                  <c:v>1.3698630136986299E-3</c:v>
                </c:pt>
                <c:pt idx="1">
                  <c:v>2.6350461133069799E-3</c:v>
                </c:pt>
                <c:pt idx="2">
                  <c:v>6.84540787221905E-3</c:v>
                </c:pt>
                <c:pt idx="3">
                  <c:v>5.8027079303674999E-3</c:v>
                </c:pt>
                <c:pt idx="4">
                  <c:v>4.7687172150691504E-3</c:v>
                </c:pt>
                <c:pt idx="5">
                  <c:v>2.4620434961017601E-3</c:v>
                </c:pt>
                <c:pt idx="6">
                  <c:v>3.3264033264033301E-3</c:v>
                </c:pt>
                <c:pt idx="7">
                  <c:v>7.6893502499038799E-3</c:v>
                </c:pt>
                <c:pt idx="8">
                  <c:v>6.6690066690066703E-3</c:v>
                </c:pt>
                <c:pt idx="9">
                  <c:v>6.2283737024221497E-3</c:v>
                </c:pt>
                <c:pt idx="10">
                  <c:v>1.6313213703099501E-3</c:v>
                </c:pt>
                <c:pt idx="11">
                  <c:v>7.5783672063382702E-3</c:v>
                </c:pt>
                <c:pt idx="12">
                  <c:v>1.00300902708124E-2</c:v>
                </c:pt>
                <c:pt idx="13">
                  <c:v>7.0130698119222198E-3</c:v>
                </c:pt>
                <c:pt idx="14">
                  <c:v>2.4539877300613498E-3</c:v>
                </c:pt>
                <c:pt idx="15">
                  <c:v>1.00671140939597E-2</c:v>
                </c:pt>
                <c:pt idx="16">
                  <c:v>1.4554794520547899E-2</c:v>
                </c:pt>
                <c:pt idx="17">
                  <c:v>2.4633821571238401E-2</c:v>
                </c:pt>
                <c:pt idx="18">
                  <c:v>9.7087378640776698E-2</c:v>
                </c:pt>
                <c:pt idx="19">
                  <c:v>8.1954294720252202E-2</c:v>
                </c:pt>
                <c:pt idx="20">
                  <c:v>4.17315478044223E-2</c:v>
                </c:pt>
                <c:pt idx="21">
                  <c:v>6.6334018197827999E-2</c:v>
                </c:pt>
                <c:pt idx="22">
                  <c:v>8.9285714285714302E-2</c:v>
                </c:pt>
                <c:pt idx="23">
                  <c:v>9.5632183908045995E-2</c:v>
                </c:pt>
                <c:pt idx="24">
                  <c:v>0.152402745995423</c:v>
                </c:pt>
                <c:pt idx="25">
                  <c:v>0.153753753753754</c:v>
                </c:pt>
                <c:pt idx="26">
                  <c:v>0.16731669266770699</c:v>
                </c:pt>
                <c:pt idx="27">
                  <c:v>0.18488038277512001</c:v>
                </c:pt>
                <c:pt idx="28">
                  <c:v>0.18999820756408001</c:v>
                </c:pt>
                <c:pt idx="29">
                  <c:v>0.19728128267689099</c:v>
                </c:pt>
                <c:pt idx="30">
                  <c:v>0.181374321880651</c:v>
                </c:pt>
                <c:pt idx="31">
                  <c:v>0.165085388994307</c:v>
                </c:pt>
                <c:pt idx="32">
                  <c:v>0.17131764134918701</c:v>
                </c:pt>
                <c:pt idx="33">
                  <c:v>0.172544763971785</c:v>
                </c:pt>
                <c:pt idx="34">
                  <c:v>0.17313776243888401</c:v>
                </c:pt>
                <c:pt idx="35">
                  <c:v>0.18998628257887501</c:v>
                </c:pt>
                <c:pt idx="36">
                  <c:v>0.11049062624651</c:v>
                </c:pt>
                <c:pt idx="37">
                  <c:v>0.121713729308666</c:v>
                </c:pt>
                <c:pt idx="38">
                  <c:v>0.12043795620438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2.56849315068493E-2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079-4B0E-AC26-34569CAFC23E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14-15</c:v>
                </c:pt>
              </c:strCache>
            </c:strRef>
          </c:tx>
          <c:spPr>
            <a:solidFill>
              <a:srgbClr val="92D050">
                <a:alpha val="50196"/>
              </a:srgbClr>
            </a:solidFill>
            <a:ln>
              <a:noFill/>
            </a:ln>
            <a:effectLst/>
          </c:spPr>
          <c:cat>
            <c:numRef>
              <c:f>Лист1!$A$2:$A$54</c:f>
              <c:numCache>
                <c:formatCode>General</c:formatCode>
                <c:ptCount val="53"/>
                <c:pt idx="0" formatCode="[$-419]d\ mmm;@">
                  <c:v>41518</c:v>
                </c:pt>
                <c:pt idx="13" formatCode="[$-419]d\ mmm;@">
                  <c:v>41609</c:v>
                </c:pt>
                <c:pt idx="26" formatCode="[$-419]d\ mmm;@">
                  <c:v>42796</c:v>
                </c:pt>
                <c:pt idx="39" formatCode="[$-419]d\ mmm;@">
                  <c:v>41791</c:v>
                </c:pt>
              </c:numCache>
            </c:numRef>
          </c:cat>
          <c:val>
            <c:numRef>
              <c:f>Лист1!$C$2:$C$54</c:f>
              <c:numCache>
                <c:formatCode>0%</c:formatCode>
                <c:ptCount val="53"/>
                <c:pt idx="0">
                  <c:v>0</c:v>
                </c:pt>
                <c:pt idx="1">
                  <c:v>0</c:v>
                </c:pt>
                <c:pt idx="2">
                  <c:v>3.4052213393870601E-3</c:v>
                </c:pt>
                <c:pt idx="3">
                  <c:v>7.0175438596491203E-3</c:v>
                </c:pt>
                <c:pt idx="4">
                  <c:v>1.5159171298635701E-3</c:v>
                </c:pt>
                <c:pt idx="5">
                  <c:v>1.8939393939393901E-3</c:v>
                </c:pt>
                <c:pt idx="6">
                  <c:v>6.3006300630062996E-3</c:v>
                </c:pt>
                <c:pt idx="7">
                  <c:v>7.1971211515393799E-3</c:v>
                </c:pt>
                <c:pt idx="8">
                  <c:v>2.2900763358778601E-3</c:v>
                </c:pt>
                <c:pt idx="9">
                  <c:v>5.2246603970741903E-3</c:v>
                </c:pt>
                <c:pt idx="10">
                  <c:v>5.7273768613974804E-3</c:v>
                </c:pt>
                <c:pt idx="11">
                  <c:v>8.1061164333087708E-3</c:v>
                </c:pt>
                <c:pt idx="12">
                  <c:v>5.7020669992872402E-3</c:v>
                </c:pt>
                <c:pt idx="13">
                  <c:v>1.28700128700129E-2</c:v>
                </c:pt>
                <c:pt idx="14">
                  <c:v>2.16178521617852E-2</c:v>
                </c:pt>
                <c:pt idx="15">
                  <c:v>2.6534859521331899E-2</c:v>
                </c:pt>
                <c:pt idx="16">
                  <c:v>8.3844580777096195E-2</c:v>
                </c:pt>
                <c:pt idx="17">
                  <c:v>9.4849246231155704E-2</c:v>
                </c:pt>
                <c:pt idx="18">
                  <c:v>0.11225997045790299</c:v>
                </c:pt>
                <c:pt idx="19">
                  <c:v>0.17123287671232901</c:v>
                </c:pt>
                <c:pt idx="20">
                  <c:v>0.144778987828315</c:v>
                </c:pt>
                <c:pt idx="21">
                  <c:v>0.22013218098627399</c:v>
                </c:pt>
                <c:pt idx="22">
                  <c:v>0.29011194029850701</c:v>
                </c:pt>
                <c:pt idx="23">
                  <c:v>0.29127829560585899</c:v>
                </c:pt>
                <c:pt idx="24">
                  <c:v>0.33609222583505799</c:v>
                </c:pt>
                <c:pt idx="25">
                  <c:v>0.35673778017823399</c:v>
                </c:pt>
                <c:pt idx="26">
                  <c:v>0.345968712394705</c:v>
                </c:pt>
                <c:pt idx="27">
                  <c:v>0.296224319822321</c:v>
                </c:pt>
                <c:pt idx="28">
                  <c:v>0.300638226402419</c:v>
                </c:pt>
                <c:pt idx="29">
                  <c:v>0.27876376988984097</c:v>
                </c:pt>
                <c:pt idx="30">
                  <c:v>0.23070834982192301</c:v>
                </c:pt>
                <c:pt idx="31">
                  <c:v>0.18873602751504701</c:v>
                </c:pt>
                <c:pt idx="32">
                  <c:v>0.15809893307468501</c:v>
                </c:pt>
                <c:pt idx="33">
                  <c:v>0.133837021046951</c:v>
                </c:pt>
                <c:pt idx="34">
                  <c:v>9.7264437689969604E-2</c:v>
                </c:pt>
                <c:pt idx="35">
                  <c:v>0.109141791044776</c:v>
                </c:pt>
                <c:pt idx="36">
                  <c:v>5.8261700095511001E-2</c:v>
                </c:pt>
                <c:pt idx="37">
                  <c:v>6.1822125813449001E-2</c:v>
                </c:pt>
                <c:pt idx="38">
                  <c:v>1.7142857142857099E-2</c:v>
                </c:pt>
                <c:pt idx="39">
                  <c:v>3.04054054054054E-2</c:v>
                </c:pt>
                <c:pt idx="40">
                  <c:v>1.11731843575419E-2</c:v>
                </c:pt>
                <c:pt idx="41">
                  <c:v>6.8027210884353704E-3</c:v>
                </c:pt>
                <c:pt idx="42">
                  <c:v>4.0760869565217399E-3</c:v>
                </c:pt>
                <c:pt idx="43">
                  <c:v>5.92592592592593E-3</c:v>
                </c:pt>
                <c:pt idx="44">
                  <c:v>3.0627871362940299E-3</c:v>
                </c:pt>
                <c:pt idx="45">
                  <c:v>2.75862068965517E-3</c:v>
                </c:pt>
                <c:pt idx="46">
                  <c:v>2.94117647058823E-3</c:v>
                </c:pt>
                <c:pt idx="47">
                  <c:v>2.7932960893854802E-3</c:v>
                </c:pt>
                <c:pt idx="48">
                  <c:v>7.5662042875157603E-3</c:v>
                </c:pt>
                <c:pt idx="49">
                  <c:v>4.0106951871657802E-3</c:v>
                </c:pt>
                <c:pt idx="50">
                  <c:v>1.2210012210012199E-3</c:v>
                </c:pt>
                <c:pt idx="51">
                  <c:v>1.1655011655011701E-3</c:v>
                </c:pt>
                <c:pt idx="52">
                  <c:v>2.4539877300613498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079-4B0E-AC26-34569CAFC23E}"/>
            </c:ext>
          </c:extLst>
        </c:ser>
        <c:ser>
          <c:idx val="3"/>
          <c:order val="2"/>
          <c:tx>
            <c:strRef>
              <c:f>Лист1!$E$1</c:f>
              <c:strCache>
                <c:ptCount val="1"/>
                <c:pt idx="0">
                  <c:v>16-17</c:v>
                </c:pt>
              </c:strCache>
            </c:strRef>
          </c:tx>
          <c:spPr>
            <a:solidFill>
              <a:srgbClr val="7030A0">
                <a:alpha val="50196"/>
              </a:srgbClr>
            </a:solidFill>
            <a:ln>
              <a:noFill/>
            </a:ln>
            <a:effectLst/>
          </c:spPr>
          <c:cat>
            <c:numRef>
              <c:f>Лист1!$A$2:$A$54</c:f>
              <c:numCache>
                <c:formatCode>General</c:formatCode>
                <c:ptCount val="53"/>
                <c:pt idx="0" formatCode="[$-419]d\ mmm;@">
                  <c:v>41518</c:v>
                </c:pt>
                <c:pt idx="13" formatCode="[$-419]d\ mmm;@">
                  <c:v>41609</c:v>
                </c:pt>
                <c:pt idx="26" formatCode="[$-419]d\ mmm;@">
                  <c:v>42796</c:v>
                </c:pt>
                <c:pt idx="39" formatCode="[$-419]d\ mmm;@">
                  <c:v>41791</c:v>
                </c:pt>
              </c:numCache>
            </c:numRef>
          </c:cat>
          <c:val>
            <c:numRef>
              <c:f>Лист1!$E$2:$E$54</c:f>
              <c:numCache>
                <c:formatCode>0%</c:formatCode>
                <c:ptCount val="53"/>
                <c:pt idx="0">
                  <c:v>0</c:v>
                </c:pt>
                <c:pt idx="1">
                  <c:v>0</c:v>
                </c:pt>
                <c:pt idx="2">
                  <c:v>2.4721878862793601E-3</c:v>
                </c:pt>
                <c:pt idx="3">
                  <c:v>0</c:v>
                </c:pt>
                <c:pt idx="4">
                  <c:v>0</c:v>
                </c:pt>
                <c:pt idx="5">
                  <c:v>1.7361111111111099E-3</c:v>
                </c:pt>
                <c:pt idx="6">
                  <c:v>1.7574692442882201E-3</c:v>
                </c:pt>
                <c:pt idx="7">
                  <c:v>2.8109627547435001E-3</c:v>
                </c:pt>
                <c:pt idx="8">
                  <c:v>7.8369905956112904E-4</c:v>
                </c:pt>
                <c:pt idx="9">
                  <c:v>4.3891733723482101E-3</c:v>
                </c:pt>
                <c:pt idx="10">
                  <c:v>5.4533060668030004E-3</c:v>
                </c:pt>
                <c:pt idx="11">
                  <c:v>9.0497737556561094E-3</c:v>
                </c:pt>
                <c:pt idx="12">
                  <c:v>1.12419700214133E-2</c:v>
                </c:pt>
                <c:pt idx="13">
                  <c:v>3.1166039763568E-2</c:v>
                </c:pt>
                <c:pt idx="14">
                  <c:v>7.8961038961038996E-2</c:v>
                </c:pt>
                <c:pt idx="15">
                  <c:v>0.15</c:v>
                </c:pt>
                <c:pt idx="16">
                  <c:v>0.22747952684258399</c:v>
                </c:pt>
                <c:pt idx="17">
                  <c:v>0.31812221348019898</c:v>
                </c:pt>
                <c:pt idx="18">
                  <c:v>0.33975903614457797</c:v>
                </c:pt>
                <c:pt idx="19">
                  <c:v>0.41716227697536101</c:v>
                </c:pt>
                <c:pt idx="20">
                  <c:v>0.33852323661240902</c:v>
                </c:pt>
                <c:pt idx="21">
                  <c:v>0.34509099078858702</c:v>
                </c:pt>
                <c:pt idx="22">
                  <c:v>0.321836555360281</c:v>
                </c:pt>
                <c:pt idx="23">
                  <c:v>0.32065847437978201</c:v>
                </c:pt>
                <c:pt idx="24">
                  <c:v>0.28140486964016398</c:v>
                </c:pt>
                <c:pt idx="25">
                  <c:v>0.29261363636363602</c:v>
                </c:pt>
                <c:pt idx="26">
                  <c:v>0.271665410700829</c:v>
                </c:pt>
                <c:pt idx="27">
                  <c:v>0.26421312826146698</c:v>
                </c:pt>
                <c:pt idx="28">
                  <c:v>0.244511733535201</c:v>
                </c:pt>
                <c:pt idx="29">
                  <c:v>0.21188428459734199</c:v>
                </c:pt>
                <c:pt idx="30">
                  <c:v>0.23013048635824401</c:v>
                </c:pt>
                <c:pt idx="31">
                  <c:v>0.219522776572668</c:v>
                </c:pt>
                <c:pt idx="32">
                  <c:v>0.19729043183742601</c:v>
                </c:pt>
                <c:pt idx="33">
                  <c:v>0.15140845070422501</c:v>
                </c:pt>
                <c:pt idx="34">
                  <c:v>0.17003188097768299</c:v>
                </c:pt>
                <c:pt idx="35">
                  <c:v>0.140971805638871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079-4B0E-AC26-34569CAFC2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139619272"/>
        <c:axId val="2139622856"/>
      </c:areaChart>
      <c:catAx>
        <c:axId val="2139619272"/>
        <c:scaling>
          <c:orientation val="minMax"/>
        </c:scaling>
        <c:delete val="0"/>
        <c:axPos val="b"/>
        <c:numFmt formatCode="[$-419]d\ mmm;@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2139622856"/>
        <c:crosses val="autoZero"/>
        <c:auto val="0"/>
        <c:lblAlgn val="ctr"/>
        <c:lblOffset val="100"/>
        <c:noMultiLvlLbl val="0"/>
      </c:catAx>
      <c:valAx>
        <c:axId val="2139622856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2139619272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12384333465366699"/>
          <c:y val="0.440295868301805"/>
          <c:w val="8.6710475492234207E-2"/>
          <c:h val="0.2523704285424249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601280584052298E-2"/>
          <c:y val="0.12318307699529001"/>
          <c:w val="0.91595786819075797"/>
          <c:h val="0.75578836062361798"/>
        </c:manualLayout>
      </c:layout>
      <c:areaChart>
        <c:grouping val="standard"/>
        <c:varyColors val="0"/>
        <c:ser>
          <c:idx val="4"/>
          <c:order val="1"/>
          <c:tx>
            <c:strRef>
              <c:f>Лист1!$F$1</c:f>
              <c:strCache>
                <c:ptCount val="1"/>
                <c:pt idx="0">
                  <c:v>Заболеваемость гриппом</c:v>
                </c:pt>
              </c:strCache>
            </c:strRef>
          </c:tx>
          <c:spPr>
            <a:solidFill>
              <a:schemeClr val="bg1"/>
            </a:solidFill>
            <a:ln>
              <a:noFill/>
            </a:ln>
            <a:effectLst/>
          </c:spPr>
          <c:cat>
            <c:strRef>
              <c:f>Лист1!$A$2:$A$37</c:f>
              <c:strCache>
                <c:ptCount val="34"/>
                <c:pt idx="0">
                  <c:v>2015_40</c:v>
                </c:pt>
                <c:pt idx="10">
                  <c:v>2015_50</c:v>
                </c:pt>
                <c:pt idx="23">
                  <c:v>2016_10</c:v>
                </c:pt>
                <c:pt idx="33">
                  <c:v>2016_20</c:v>
                </c:pt>
              </c:strCache>
            </c:strRef>
          </c:cat>
          <c:val>
            <c:numRef>
              <c:f>Лист1!$F$2:$F$37</c:f>
              <c:numCache>
                <c:formatCode>0%</c:formatCode>
                <c:ptCount val="36"/>
                <c:pt idx="0">
                  <c:v>4.0749796251018698E-3</c:v>
                </c:pt>
                <c:pt idx="1">
                  <c:v>1.39762403913347E-3</c:v>
                </c:pt>
                <c:pt idx="2">
                  <c:v>2.0761245674740499E-3</c:v>
                </c:pt>
                <c:pt idx="3">
                  <c:v>6.6800267201068799E-4</c:v>
                </c:pt>
                <c:pt idx="4">
                  <c:v>1.28452151573539E-3</c:v>
                </c:pt>
                <c:pt idx="5">
                  <c:v>1.3236267372600901E-3</c:v>
                </c:pt>
                <c:pt idx="6">
                  <c:v>1.18063754427391E-3</c:v>
                </c:pt>
                <c:pt idx="7">
                  <c:v>2.9359953024075199E-3</c:v>
                </c:pt>
                <c:pt idx="8">
                  <c:v>5.7113187954309502E-3</c:v>
                </c:pt>
                <c:pt idx="9">
                  <c:v>7.7881619937694704E-3</c:v>
                </c:pt>
                <c:pt idx="10">
                  <c:v>1.30653266331658E-2</c:v>
                </c:pt>
                <c:pt idx="11">
                  <c:v>4.6571136131013303E-2</c:v>
                </c:pt>
                <c:pt idx="12">
                  <c:v>7.2484501669051002E-2</c:v>
                </c:pt>
                <c:pt idx="13">
                  <c:v>0.20270270270270299</c:v>
                </c:pt>
                <c:pt idx="14">
                  <c:v>0.381818181818182</c:v>
                </c:pt>
                <c:pt idx="15">
                  <c:v>0.26891691394658801</c:v>
                </c:pt>
                <c:pt idx="16">
                  <c:v>0.35708752904725</c:v>
                </c:pt>
                <c:pt idx="17">
                  <c:v>0.36559139784946199</c:v>
                </c:pt>
                <c:pt idx="18">
                  <c:v>0.33311170212766</c:v>
                </c:pt>
                <c:pt idx="19">
                  <c:v>0.30841031562740601</c:v>
                </c:pt>
                <c:pt idx="20">
                  <c:v>0.29265941330395301</c:v>
                </c:pt>
                <c:pt idx="21">
                  <c:v>0.27212178877259702</c:v>
                </c:pt>
                <c:pt idx="22">
                  <c:v>0.227093596059113</c:v>
                </c:pt>
                <c:pt idx="23">
                  <c:v>0.21066510401406399</c:v>
                </c:pt>
                <c:pt idx="24">
                  <c:v>0.21731123388581999</c:v>
                </c:pt>
                <c:pt idx="25">
                  <c:v>0.176013098649202</c:v>
                </c:pt>
                <c:pt idx="26">
                  <c:v>0.167472527472527</c:v>
                </c:pt>
                <c:pt idx="27">
                  <c:v>0.14364364364364399</c:v>
                </c:pt>
                <c:pt idx="28">
                  <c:v>0.179956896551724</c:v>
                </c:pt>
                <c:pt idx="29">
                  <c:v>0.1163215590743</c:v>
                </c:pt>
                <c:pt idx="30">
                  <c:v>0.130925507900677</c:v>
                </c:pt>
                <c:pt idx="31">
                  <c:v>0.14082969432314399</c:v>
                </c:pt>
                <c:pt idx="32">
                  <c:v>0.120989917506874</c:v>
                </c:pt>
                <c:pt idx="33">
                  <c:v>0.109375</c:v>
                </c:pt>
                <c:pt idx="34">
                  <c:v>6.20884289746002E-2</c:v>
                </c:pt>
                <c:pt idx="35">
                  <c:v>4.41767068273092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083-4F6B-9464-06EA74EEB378}"/>
            </c:ext>
          </c:extLst>
        </c:ser>
        <c:ser>
          <c:idx val="5"/>
          <c:order val="2"/>
          <c:tx>
            <c:strRef>
              <c:f>Лист1!$G$1</c:f>
              <c:strCache>
                <c:ptCount val="1"/>
                <c:pt idx="0">
                  <c:v>Заболеваемость орви (ИФ)</c:v>
                </c:pt>
              </c:strCache>
            </c:strRef>
          </c:tx>
          <c:spPr>
            <a:solidFill>
              <a:schemeClr val="bg1"/>
            </a:solidFill>
            <a:ln>
              <a:noFill/>
            </a:ln>
            <a:effectLst/>
          </c:spPr>
          <c:cat>
            <c:strRef>
              <c:f>Лист1!$A$2:$A$37</c:f>
              <c:strCache>
                <c:ptCount val="34"/>
                <c:pt idx="0">
                  <c:v>2015_40</c:v>
                </c:pt>
                <c:pt idx="10">
                  <c:v>2015_50</c:v>
                </c:pt>
                <c:pt idx="23">
                  <c:v>2016_10</c:v>
                </c:pt>
                <c:pt idx="33">
                  <c:v>2016_20</c:v>
                </c:pt>
              </c:strCache>
            </c:strRef>
          </c:cat>
          <c:val>
            <c:numRef>
              <c:f>Лист1!$G$2:$G$37</c:f>
              <c:numCache>
                <c:formatCode>0%</c:formatCode>
                <c:ptCount val="36"/>
                <c:pt idx="0">
                  <c:v>0.25311203319502101</c:v>
                </c:pt>
                <c:pt idx="1">
                  <c:v>0.27639751552795</c:v>
                </c:pt>
                <c:pt idx="2">
                  <c:v>0.28213166144200602</c:v>
                </c:pt>
                <c:pt idx="3">
                  <c:v>0.28667790893760497</c:v>
                </c:pt>
                <c:pt idx="4">
                  <c:v>0.244956772334294</c:v>
                </c:pt>
                <c:pt idx="5">
                  <c:v>0.25980392156862703</c:v>
                </c:pt>
                <c:pt idx="6">
                  <c:v>0.21968787515006</c:v>
                </c:pt>
                <c:pt idx="7">
                  <c:v>0.234278668310727</c:v>
                </c:pt>
                <c:pt idx="8">
                  <c:v>0.24626006904487899</c:v>
                </c:pt>
                <c:pt idx="9">
                  <c:v>0.26219512195121902</c:v>
                </c:pt>
                <c:pt idx="10">
                  <c:v>0.27958115183246102</c:v>
                </c:pt>
                <c:pt idx="11">
                  <c:v>0.26081424936386799</c:v>
                </c:pt>
                <c:pt idx="12">
                  <c:v>0.27126099706744899</c:v>
                </c:pt>
                <c:pt idx="13">
                  <c:v>0.154518950437318</c:v>
                </c:pt>
                <c:pt idx="14">
                  <c:v>0.18518518518518501</c:v>
                </c:pt>
                <c:pt idx="15">
                  <c:v>0.232116788321168</c:v>
                </c:pt>
                <c:pt idx="16">
                  <c:v>0.198523379819524</c:v>
                </c:pt>
                <c:pt idx="17">
                  <c:v>0.178923766816144</c:v>
                </c:pt>
                <c:pt idx="18">
                  <c:v>0.16173434273915999</c:v>
                </c:pt>
                <c:pt idx="19">
                  <c:v>0.17103382563125299</c:v>
                </c:pt>
                <c:pt idx="20">
                  <c:v>0.156172533465543</c:v>
                </c:pt>
                <c:pt idx="21">
                  <c:v>0.184068891280947</c:v>
                </c:pt>
                <c:pt idx="22">
                  <c:v>0.21224832214765099</c:v>
                </c:pt>
                <c:pt idx="23">
                  <c:v>0.22419928825622801</c:v>
                </c:pt>
                <c:pt idx="24">
                  <c:v>0.19226957383548099</c:v>
                </c:pt>
                <c:pt idx="25">
                  <c:v>0.215037593984962</c:v>
                </c:pt>
                <c:pt idx="26">
                  <c:v>0.225806451612903</c:v>
                </c:pt>
                <c:pt idx="27">
                  <c:v>0.23719165085388999</c:v>
                </c:pt>
                <c:pt idx="28">
                  <c:v>0.27171903881700599</c:v>
                </c:pt>
                <c:pt idx="29">
                  <c:v>0.230919765166341</c:v>
                </c:pt>
                <c:pt idx="30">
                  <c:v>0.19148936170212799</c:v>
                </c:pt>
                <c:pt idx="31">
                  <c:v>0.19298245614035101</c:v>
                </c:pt>
                <c:pt idx="32">
                  <c:v>0.20833333333333301</c:v>
                </c:pt>
                <c:pt idx="33">
                  <c:v>0.22038567493112901</c:v>
                </c:pt>
                <c:pt idx="34">
                  <c:v>0.2225</c:v>
                </c:pt>
                <c:pt idx="35">
                  <c:v>0.21830985915493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083-4F6B-9464-06EA74EEB3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117892664"/>
        <c:axId val="2117889256"/>
      </c:areaChar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Доля трафика лекарств от гриппа, орви</c:v>
                </c:pt>
              </c:strCache>
            </c:strRef>
          </c:tx>
          <c:spPr>
            <a:ln w="28575" cap="rnd">
              <a:solidFill>
                <a:srgbClr val="FF006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F0066"/>
              </a:solidFill>
              <a:ln w="9525">
                <a:solidFill>
                  <a:srgbClr val="FF0066"/>
                </a:solidFill>
              </a:ln>
              <a:effectLst/>
            </c:spPr>
          </c:marker>
          <c:cat>
            <c:strRef>
              <c:f>Лист1!$A$2:$A$37</c:f>
              <c:strCache>
                <c:ptCount val="34"/>
                <c:pt idx="0">
                  <c:v>2015_40</c:v>
                </c:pt>
                <c:pt idx="10">
                  <c:v>2015_50</c:v>
                </c:pt>
                <c:pt idx="23">
                  <c:v>2016_10</c:v>
                </c:pt>
                <c:pt idx="33">
                  <c:v>2016_20</c:v>
                </c:pt>
              </c:strCache>
            </c:strRef>
          </c:cat>
          <c:val>
            <c:numRef>
              <c:f>Лист1!$B$2:$B$37</c:f>
              <c:numCache>
                <c:formatCode>0%</c:formatCode>
                <c:ptCount val="36"/>
                <c:pt idx="0">
                  <c:v>0.124556471888971</c:v>
                </c:pt>
                <c:pt idx="1">
                  <c:v>0.123094424048569</c:v>
                </c:pt>
                <c:pt idx="2">
                  <c:v>0.12893132664899301</c:v>
                </c:pt>
                <c:pt idx="3">
                  <c:v>0.11789936775599601</c:v>
                </c:pt>
                <c:pt idx="4">
                  <c:v>0.10339016849541</c:v>
                </c:pt>
                <c:pt idx="5">
                  <c:v>0.109520078767444</c:v>
                </c:pt>
                <c:pt idx="6">
                  <c:v>0.10888968287706501</c:v>
                </c:pt>
                <c:pt idx="7">
                  <c:v>0.106376850184594</c:v>
                </c:pt>
                <c:pt idx="8">
                  <c:v>0.10363500413217699</c:v>
                </c:pt>
                <c:pt idx="9">
                  <c:v>0.100044975840915</c:v>
                </c:pt>
                <c:pt idx="10">
                  <c:v>0.108133624281469</c:v>
                </c:pt>
                <c:pt idx="11">
                  <c:v>0.10741775822465099</c:v>
                </c:pt>
                <c:pt idx="12">
                  <c:v>0.119175187233609</c:v>
                </c:pt>
                <c:pt idx="13">
                  <c:v>0.116325991057793</c:v>
                </c:pt>
                <c:pt idx="14">
                  <c:v>0.13552466776484601</c:v>
                </c:pt>
                <c:pt idx="15">
                  <c:v>0.14924468059686599</c:v>
                </c:pt>
                <c:pt idx="16">
                  <c:v>0.12743781251234801</c:v>
                </c:pt>
                <c:pt idx="17">
                  <c:v>0.16040900813238501</c:v>
                </c:pt>
                <c:pt idx="18">
                  <c:v>0.187189787549119</c:v>
                </c:pt>
                <c:pt idx="19">
                  <c:v>0.13482160402856999</c:v>
                </c:pt>
                <c:pt idx="20">
                  <c:v>0.10088834554562801</c:v>
                </c:pt>
                <c:pt idx="21">
                  <c:v>9.2763966932889699E-2</c:v>
                </c:pt>
                <c:pt idx="22">
                  <c:v>9.4937803188812994E-2</c:v>
                </c:pt>
                <c:pt idx="23">
                  <c:v>8.2589031773379104E-2</c:v>
                </c:pt>
                <c:pt idx="24">
                  <c:v>8.2005696419969895E-2</c:v>
                </c:pt>
                <c:pt idx="25">
                  <c:v>9.5161326162838095E-2</c:v>
                </c:pt>
                <c:pt idx="26">
                  <c:v>8.9197604506673495E-2</c:v>
                </c:pt>
                <c:pt idx="27">
                  <c:v>9.9478083888093094E-2</c:v>
                </c:pt>
                <c:pt idx="28">
                  <c:v>9.58251947456705E-2</c:v>
                </c:pt>
                <c:pt idx="29">
                  <c:v>9.3802499971722797E-2</c:v>
                </c:pt>
                <c:pt idx="30">
                  <c:v>8.9723368215575999E-2</c:v>
                </c:pt>
                <c:pt idx="31">
                  <c:v>8.9335408650151396E-2</c:v>
                </c:pt>
                <c:pt idx="32">
                  <c:v>8.6491752141955897E-2</c:v>
                </c:pt>
                <c:pt idx="33">
                  <c:v>7.8210224940822803E-2</c:v>
                </c:pt>
                <c:pt idx="34">
                  <c:v>7.8703685653691305E-2</c:v>
                </c:pt>
                <c:pt idx="35">
                  <c:v>8.377799163815349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083-4F6B-9464-06EA74EEB3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17880168"/>
        <c:axId val="2117885448"/>
      </c:lineChart>
      <c:catAx>
        <c:axId val="21178801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17885448"/>
        <c:crosses val="autoZero"/>
        <c:auto val="1"/>
        <c:lblAlgn val="ctr"/>
        <c:lblOffset val="100"/>
        <c:noMultiLvlLbl val="0"/>
      </c:catAx>
      <c:valAx>
        <c:axId val="2117885448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 sz="900">
                <a:solidFill>
                  <a:schemeClr val="bg1"/>
                </a:solidFill>
              </a:defRPr>
            </a:pPr>
            <a:endParaRPr lang="ru-RU"/>
          </a:p>
        </c:txPr>
        <c:crossAx val="2117880168"/>
        <c:crosses val="autoZero"/>
        <c:crossBetween val="between"/>
      </c:valAx>
      <c:valAx>
        <c:axId val="2117889256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>
                <a:solidFill>
                  <a:schemeClr val="bg1"/>
                </a:solidFill>
              </a:defRPr>
            </a:pPr>
            <a:endParaRPr lang="ru-RU"/>
          </a:p>
        </c:txPr>
        <c:crossAx val="2117892664"/>
        <c:crosses val="max"/>
        <c:crossBetween val="between"/>
      </c:valAx>
      <c:catAx>
        <c:axId val="211789266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1788925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vert="horz"/>
          <a:lstStyle/>
          <a:p>
            <a: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pPr>
            <a:r>
              <a:rPr lang="ru-RU" dirty="0" smtClean="0">
                <a:solidFill>
                  <a:schemeClr val="bg1"/>
                </a:solidFill>
              </a:rPr>
              <a:t>Москва + обл.</a:t>
            </a:r>
            <a:endParaRPr lang="ru-RU" dirty="0">
              <a:solidFill>
                <a:schemeClr val="bg1"/>
              </a:solidFill>
            </a:endParaRPr>
          </a:p>
        </c:rich>
      </c:tx>
      <c:layout>
        <c:manualLayout>
          <c:xMode val="edge"/>
          <c:yMode val="edge"/>
          <c:x val="0.39892375057516299"/>
          <c:y val="0.511150649438051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4.66603424297964E-2"/>
          <c:y val="0.119239994224975"/>
          <c:w val="0.907619222952607"/>
          <c:h val="0.71003869217307303"/>
        </c:manualLayout>
      </c:layout>
      <c:areaChart>
        <c:grouping val="standard"/>
        <c:varyColors val="0"/>
        <c:ser>
          <c:idx val="5"/>
          <c:order val="1"/>
          <c:tx>
            <c:strRef>
              <c:f>Лист1!$C$1</c:f>
              <c:strCache>
                <c:ptCount val="1"/>
                <c:pt idx="0">
                  <c:v>Триггер</c:v>
                </c:pt>
              </c:strCache>
            </c:strRef>
          </c:tx>
          <c:spPr>
            <a:solidFill>
              <a:schemeClr val="tx1">
                <a:lumMod val="85000"/>
                <a:lumOff val="15000"/>
              </a:schemeClr>
            </a:solidFill>
            <a:ln w="25400">
              <a:noFill/>
            </a:ln>
          </c:spPr>
          <c:cat>
            <c:numRef>
              <c:f>Лист1!$A$2:$A$98</c:f>
              <c:numCache>
                <c:formatCode>General</c:formatCode>
                <c:ptCount val="97"/>
                <c:pt idx="0" formatCode="[$-419]d\ mmm;@">
                  <c:v>42675</c:v>
                </c:pt>
                <c:pt idx="30" formatCode="[$-419]d\ mmm;@">
                  <c:v>42705</c:v>
                </c:pt>
                <c:pt idx="61" formatCode="[$-419]d\ mmm;@">
                  <c:v>42736</c:v>
                </c:pt>
                <c:pt idx="92" formatCode="[$-419]d\ mmm;@">
                  <c:v>42767</c:v>
                </c:pt>
              </c:numCache>
            </c:numRef>
          </c:cat>
          <c:val>
            <c:numRef>
              <c:f>Лист1!$C$2:$C$98</c:f>
              <c:numCache>
                <c:formatCode>General</c:formatCode>
                <c:ptCount val="97"/>
                <c:pt idx="0">
                  <c:v>-1</c:v>
                </c:pt>
                <c:pt idx="1">
                  <c:v>1</c:v>
                </c:pt>
                <c:pt idx="2">
                  <c:v>-3</c:v>
                </c:pt>
                <c:pt idx="3">
                  <c:v>-8</c:v>
                </c:pt>
                <c:pt idx="4">
                  <c:v>-10</c:v>
                </c:pt>
                <c:pt idx="5">
                  <c:v>-9</c:v>
                </c:pt>
                <c:pt idx="6">
                  <c:v>1</c:v>
                </c:pt>
                <c:pt idx="7">
                  <c:v>-10</c:v>
                </c:pt>
                <c:pt idx="8">
                  <c:v>-21</c:v>
                </c:pt>
                <c:pt idx="9">
                  <c:v>-13</c:v>
                </c:pt>
                <c:pt idx="10">
                  <c:v>-9</c:v>
                </c:pt>
                <c:pt idx="11">
                  <c:v>-17</c:v>
                </c:pt>
                <c:pt idx="12">
                  <c:v>-17</c:v>
                </c:pt>
                <c:pt idx="13">
                  <c:v>-2</c:v>
                </c:pt>
                <c:pt idx="14">
                  <c:v>-9</c:v>
                </c:pt>
                <c:pt idx="15">
                  <c:v>-15</c:v>
                </c:pt>
                <c:pt idx="16">
                  <c:v>-19</c:v>
                </c:pt>
                <c:pt idx="17">
                  <c:v>-11</c:v>
                </c:pt>
                <c:pt idx="18">
                  <c:v>-14</c:v>
                </c:pt>
                <c:pt idx="19">
                  <c:v>-15</c:v>
                </c:pt>
                <c:pt idx="20">
                  <c:v>-2</c:v>
                </c:pt>
                <c:pt idx="21">
                  <c:v>-5</c:v>
                </c:pt>
                <c:pt idx="22">
                  <c:v>-3</c:v>
                </c:pt>
                <c:pt idx="23">
                  <c:v>1</c:v>
                </c:pt>
                <c:pt idx="24">
                  <c:v>-3</c:v>
                </c:pt>
                <c:pt idx="25">
                  <c:v>-10</c:v>
                </c:pt>
                <c:pt idx="26">
                  <c:v>-11</c:v>
                </c:pt>
                <c:pt idx="27">
                  <c:v>5</c:v>
                </c:pt>
                <c:pt idx="28">
                  <c:v>1</c:v>
                </c:pt>
                <c:pt idx="29">
                  <c:v>3</c:v>
                </c:pt>
                <c:pt idx="30">
                  <c:v>6</c:v>
                </c:pt>
                <c:pt idx="31">
                  <c:v>8</c:v>
                </c:pt>
                <c:pt idx="32">
                  <c:v>5</c:v>
                </c:pt>
                <c:pt idx="33">
                  <c:v>3</c:v>
                </c:pt>
                <c:pt idx="34">
                  <c:v>22</c:v>
                </c:pt>
                <c:pt idx="35">
                  <c:v>16</c:v>
                </c:pt>
                <c:pt idx="36">
                  <c:v>18</c:v>
                </c:pt>
                <c:pt idx="37">
                  <c:v>22</c:v>
                </c:pt>
                <c:pt idx="38">
                  <c:v>23</c:v>
                </c:pt>
                <c:pt idx="39">
                  <c:v>17</c:v>
                </c:pt>
                <c:pt idx="40">
                  <c:v>23</c:v>
                </c:pt>
                <c:pt idx="41">
                  <c:v>48</c:v>
                </c:pt>
                <c:pt idx="42">
                  <c:v>42</c:v>
                </c:pt>
                <c:pt idx="43">
                  <c:v>43</c:v>
                </c:pt>
                <c:pt idx="44">
                  <c:v>42</c:v>
                </c:pt>
                <c:pt idx="45">
                  <c:v>43</c:v>
                </c:pt>
                <c:pt idx="46">
                  <c:v>40</c:v>
                </c:pt>
                <c:pt idx="47">
                  <c:v>38</c:v>
                </c:pt>
                <c:pt idx="48">
                  <c:v>65</c:v>
                </c:pt>
                <c:pt idx="49">
                  <c:v>54</c:v>
                </c:pt>
                <c:pt idx="50">
                  <c:v>29</c:v>
                </c:pt>
                <c:pt idx="51">
                  <c:v>42</c:v>
                </c:pt>
                <c:pt idx="52">
                  <c:v>48</c:v>
                </c:pt>
                <c:pt idx="53">
                  <c:v>40</c:v>
                </c:pt>
                <c:pt idx="54">
                  <c:v>31</c:v>
                </c:pt>
                <c:pt idx="55">
                  <c:v>59</c:v>
                </c:pt>
                <c:pt idx="56">
                  <c:v>48</c:v>
                </c:pt>
                <c:pt idx="57">
                  <c:v>43</c:v>
                </c:pt>
                <c:pt idx="58">
                  <c:v>41</c:v>
                </c:pt>
                <c:pt idx="59">
                  <c:v>29</c:v>
                </c:pt>
                <c:pt idx="60">
                  <c:v>12</c:v>
                </c:pt>
                <c:pt idx="61">
                  <c:v>1</c:v>
                </c:pt>
                <c:pt idx="62">
                  <c:v>15</c:v>
                </c:pt>
                <c:pt idx="63">
                  <c:v>2</c:v>
                </c:pt>
                <c:pt idx="64">
                  <c:v>2</c:v>
                </c:pt>
                <c:pt idx="65">
                  <c:v>4</c:v>
                </c:pt>
                <c:pt idx="66">
                  <c:v>-3</c:v>
                </c:pt>
                <c:pt idx="67">
                  <c:v>-8</c:v>
                </c:pt>
                <c:pt idx="68">
                  <c:v>-12</c:v>
                </c:pt>
                <c:pt idx="69">
                  <c:v>9</c:v>
                </c:pt>
                <c:pt idx="70">
                  <c:v>2</c:v>
                </c:pt>
                <c:pt idx="71">
                  <c:v>4</c:v>
                </c:pt>
                <c:pt idx="72">
                  <c:v>0</c:v>
                </c:pt>
                <c:pt idx="73">
                  <c:v>0</c:v>
                </c:pt>
                <c:pt idx="74">
                  <c:v>-12</c:v>
                </c:pt>
                <c:pt idx="75">
                  <c:v>-17</c:v>
                </c:pt>
                <c:pt idx="76">
                  <c:v>-13</c:v>
                </c:pt>
                <c:pt idx="77">
                  <c:v>-21</c:v>
                </c:pt>
                <c:pt idx="78">
                  <c:v>-11</c:v>
                </c:pt>
                <c:pt idx="79">
                  <c:v>-14</c:v>
                </c:pt>
                <c:pt idx="80">
                  <c:v>-13</c:v>
                </c:pt>
                <c:pt idx="81">
                  <c:v>-17</c:v>
                </c:pt>
                <c:pt idx="82">
                  <c:v>-23</c:v>
                </c:pt>
                <c:pt idx="83">
                  <c:v>-4</c:v>
                </c:pt>
                <c:pt idx="84">
                  <c:v>-15</c:v>
                </c:pt>
                <c:pt idx="85">
                  <c:v>-19</c:v>
                </c:pt>
                <c:pt idx="86">
                  <c:v>-14</c:v>
                </c:pt>
                <c:pt idx="87">
                  <c:v>-14</c:v>
                </c:pt>
                <c:pt idx="88">
                  <c:v>-21</c:v>
                </c:pt>
                <c:pt idx="89">
                  <c:v>-22</c:v>
                </c:pt>
                <c:pt idx="90">
                  <c:v>-9</c:v>
                </c:pt>
                <c:pt idx="91">
                  <c:v>-11</c:v>
                </c:pt>
                <c:pt idx="92">
                  <c:v>-11</c:v>
                </c:pt>
                <c:pt idx="93">
                  <c:v>-13</c:v>
                </c:pt>
                <c:pt idx="94">
                  <c:v>-43</c:v>
                </c:pt>
                <c:pt idx="95">
                  <c:v>-22</c:v>
                </c:pt>
                <c:pt idx="96">
                  <c:v>-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48-43B6-B69E-E62C3D9007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139779048"/>
        <c:axId val="2139775352"/>
      </c:areaChar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НИИ Гриппа</c:v>
                </c:pt>
              </c:strCache>
            </c:strRef>
          </c:tx>
          <c:spPr>
            <a:ln w="28575" cap="rnd">
              <a:solidFill>
                <a:srgbClr val="FF0066"/>
              </a:solidFill>
              <a:round/>
            </a:ln>
            <a:effectLst/>
          </c:spPr>
          <c:marker>
            <c:symbol val="none"/>
          </c:marker>
          <c:cat>
            <c:numRef>
              <c:f>Лист1!$A$2:$A$98</c:f>
              <c:numCache>
                <c:formatCode>General</c:formatCode>
                <c:ptCount val="97"/>
                <c:pt idx="0" formatCode="[$-419]d\ mmm;@">
                  <c:v>42675</c:v>
                </c:pt>
                <c:pt idx="30" formatCode="[$-419]d\ mmm;@">
                  <c:v>42705</c:v>
                </c:pt>
                <c:pt idx="61" formatCode="[$-419]d\ mmm;@">
                  <c:v>42736</c:v>
                </c:pt>
                <c:pt idx="92" formatCode="[$-419]d\ mmm;@">
                  <c:v>42767</c:v>
                </c:pt>
              </c:numCache>
            </c:numRef>
          </c:cat>
          <c:val>
            <c:numRef>
              <c:f>Лист1!$B$2:$B$98</c:f>
              <c:numCache>
                <c:formatCode>General</c:formatCode>
                <c:ptCount val="97"/>
                <c:pt idx="0">
                  <c:v>-31.3</c:v>
                </c:pt>
                <c:pt idx="1">
                  <c:v>-31.3</c:v>
                </c:pt>
                <c:pt idx="2">
                  <c:v>-31.3</c:v>
                </c:pt>
                <c:pt idx="3">
                  <c:v>-31.3</c:v>
                </c:pt>
                <c:pt idx="4">
                  <c:v>-31.3</c:v>
                </c:pt>
                <c:pt idx="5">
                  <c:v>-31.3</c:v>
                </c:pt>
                <c:pt idx="6">
                  <c:v>-18.600000000000001</c:v>
                </c:pt>
                <c:pt idx="7">
                  <c:v>-18.600000000000001</c:v>
                </c:pt>
                <c:pt idx="8">
                  <c:v>-18.600000000000001</c:v>
                </c:pt>
                <c:pt idx="9">
                  <c:v>-18.600000000000001</c:v>
                </c:pt>
                <c:pt idx="10">
                  <c:v>-18.600000000000001</c:v>
                </c:pt>
                <c:pt idx="11">
                  <c:v>-18.600000000000001</c:v>
                </c:pt>
                <c:pt idx="12">
                  <c:v>-18.600000000000001</c:v>
                </c:pt>
                <c:pt idx="13">
                  <c:v>-23.9</c:v>
                </c:pt>
                <c:pt idx="14">
                  <c:v>-23.9</c:v>
                </c:pt>
                <c:pt idx="15">
                  <c:v>-23.9</c:v>
                </c:pt>
                <c:pt idx="16">
                  <c:v>-23.9</c:v>
                </c:pt>
                <c:pt idx="17">
                  <c:v>-23.9</c:v>
                </c:pt>
                <c:pt idx="18">
                  <c:v>-23.9</c:v>
                </c:pt>
                <c:pt idx="19">
                  <c:v>-23.9</c:v>
                </c:pt>
                <c:pt idx="20">
                  <c:v>-18.5</c:v>
                </c:pt>
                <c:pt idx="21">
                  <c:v>-18.5</c:v>
                </c:pt>
                <c:pt idx="22">
                  <c:v>-18.5</c:v>
                </c:pt>
                <c:pt idx="23">
                  <c:v>-18.5</c:v>
                </c:pt>
                <c:pt idx="24">
                  <c:v>-18.5</c:v>
                </c:pt>
                <c:pt idx="25">
                  <c:v>-18.5</c:v>
                </c:pt>
                <c:pt idx="26">
                  <c:v>-18.5</c:v>
                </c:pt>
                <c:pt idx="27">
                  <c:v>-2.4</c:v>
                </c:pt>
                <c:pt idx="28">
                  <c:v>-2.4</c:v>
                </c:pt>
                <c:pt idx="29">
                  <c:v>-2.4</c:v>
                </c:pt>
                <c:pt idx="30">
                  <c:v>-2.4</c:v>
                </c:pt>
                <c:pt idx="31">
                  <c:v>-2.4</c:v>
                </c:pt>
                <c:pt idx="32">
                  <c:v>-2.4</c:v>
                </c:pt>
                <c:pt idx="33">
                  <c:v>-2.4</c:v>
                </c:pt>
                <c:pt idx="34">
                  <c:v>30.8</c:v>
                </c:pt>
                <c:pt idx="35">
                  <c:v>30.8</c:v>
                </c:pt>
                <c:pt idx="36">
                  <c:v>30.8</c:v>
                </c:pt>
                <c:pt idx="37">
                  <c:v>30.8</c:v>
                </c:pt>
                <c:pt idx="38">
                  <c:v>30.8</c:v>
                </c:pt>
                <c:pt idx="39">
                  <c:v>30.8</c:v>
                </c:pt>
                <c:pt idx="40">
                  <c:v>30.8</c:v>
                </c:pt>
                <c:pt idx="41">
                  <c:v>63.6</c:v>
                </c:pt>
                <c:pt idx="42">
                  <c:v>63.6</c:v>
                </c:pt>
                <c:pt idx="43">
                  <c:v>63.6</c:v>
                </c:pt>
                <c:pt idx="44">
                  <c:v>63.6</c:v>
                </c:pt>
                <c:pt idx="45">
                  <c:v>63.6</c:v>
                </c:pt>
                <c:pt idx="46">
                  <c:v>63.6</c:v>
                </c:pt>
                <c:pt idx="47">
                  <c:v>63.6</c:v>
                </c:pt>
                <c:pt idx="48">
                  <c:v>54.3</c:v>
                </c:pt>
                <c:pt idx="49">
                  <c:v>54.3</c:v>
                </c:pt>
                <c:pt idx="50">
                  <c:v>54.3</c:v>
                </c:pt>
                <c:pt idx="51">
                  <c:v>54.3</c:v>
                </c:pt>
                <c:pt idx="52">
                  <c:v>54.3</c:v>
                </c:pt>
                <c:pt idx="53">
                  <c:v>54.3</c:v>
                </c:pt>
                <c:pt idx="54">
                  <c:v>54.3</c:v>
                </c:pt>
                <c:pt idx="55">
                  <c:v>34.4</c:v>
                </c:pt>
                <c:pt idx="56">
                  <c:v>34.4</c:v>
                </c:pt>
                <c:pt idx="57">
                  <c:v>34.4</c:v>
                </c:pt>
                <c:pt idx="58">
                  <c:v>34.4</c:v>
                </c:pt>
                <c:pt idx="59">
                  <c:v>34.4</c:v>
                </c:pt>
                <c:pt idx="60">
                  <c:v>34.4</c:v>
                </c:pt>
                <c:pt idx="61">
                  <c:v>34.4</c:v>
                </c:pt>
                <c:pt idx="62">
                  <c:v>-23</c:v>
                </c:pt>
                <c:pt idx="63">
                  <c:v>-23</c:v>
                </c:pt>
                <c:pt idx="64">
                  <c:v>-23</c:v>
                </c:pt>
                <c:pt idx="65">
                  <c:v>-23</c:v>
                </c:pt>
                <c:pt idx="66">
                  <c:v>-23</c:v>
                </c:pt>
                <c:pt idx="67">
                  <c:v>-23</c:v>
                </c:pt>
                <c:pt idx="68">
                  <c:v>-23</c:v>
                </c:pt>
                <c:pt idx="69">
                  <c:v>-3.8</c:v>
                </c:pt>
                <c:pt idx="70">
                  <c:v>-3.8</c:v>
                </c:pt>
                <c:pt idx="71">
                  <c:v>-3.8</c:v>
                </c:pt>
                <c:pt idx="72">
                  <c:v>-3.8</c:v>
                </c:pt>
                <c:pt idx="73">
                  <c:v>-3.8</c:v>
                </c:pt>
                <c:pt idx="74">
                  <c:v>-3.8</c:v>
                </c:pt>
                <c:pt idx="75">
                  <c:v>-3.8</c:v>
                </c:pt>
                <c:pt idx="76">
                  <c:v>-18.2</c:v>
                </c:pt>
                <c:pt idx="77">
                  <c:v>-18.2</c:v>
                </c:pt>
                <c:pt idx="78">
                  <c:v>-18.2</c:v>
                </c:pt>
                <c:pt idx="79">
                  <c:v>-18.2</c:v>
                </c:pt>
                <c:pt idx="80">
                  <c:v>-18.2</c:v>
                </c:pt>
                <c:pt idx="81">
                  <c:v>-18.2</c:v>
                </c:pt>
                <c:pt idx="82">
                  <c:v>-18.2</c:v>
                </c:pt>
                <c:pt idx="83">
                  <c:v>-23.8</c:v>
                </c:pt>
                <c:pt idx="84">
                  <c:v>-23.8</c:v>
                </c:pt>
                <c:pt idx="85">
                  <c:v>-23.8</c:v>
                </c:pt>
                <c:pt idx="86">
                  <c:v>-23.8</c:v>
                </c:pt>
                <c:pt idx="87">
                  <c:v>-23.8</c:v>
                </c:pt>
                <c:pt idx="88">
                  <c:v>-23.8</c:v>
                </c:pt>
                <c:pt idx="89">
                  <c:v>-23.8</c:v>
                </c:pt>
                <c:pt idx="90">
                  <c:v>-22.9</c:v>
                </c:pt>
                <c:pt idx="91">
                  <c:v>-22.9</c:v>
                </c:pt>
                <c:pt idx="92">
                  <c:v>-22.9</c:v>
                </c:pt>
                <c:pt idx="93">
                  <c:v>-22.9</c:v>
                </c:pt>
                <c:pt idx="94">
                  <c:v>-22.9</c:v>
                </c:pt>
                <c:pt idx="95">
                  <c:v>-22.9</c:v>
                </c:pt>
                <c:pt idx="96">
                  <c:v>-22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648-43B6-B69E-E62C3D9007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39768312"/>
        <c:axId val="2139771800"/>
      </c:lineChart>
      <c:catAx>
        <c:axId val="2139768312"/>
        <c:scaling>
          <c:orientation val="minMax"/>
        </c:scaling>
        <c:delete val="0"/>
        <c:axPos val="b"/>
        <c:numFmt formatCode="[$-419]d\ mmm;@" sourceLinked="1"/>
        <c:majorTickMark val="none"/>
        <c:minorTickMark val="none"/>
        <c:tickLblPos val="nextTo"/>
        <c:spPr>
          <a:solidFill>
            <a:schemeClr val="bg1"/>
          </a:solidFill>
          <a:ln w="9525" cap="flat" cmpd="sng" algn="ctr">
            <a:noFill/>
            <a:round/>
          </a:ln>
          <a:effectLst/>
        </c:spPr>
        <c:txPr>
          <a:bodyPr rot="60000" vert="horz" anchor="ctr" anchorCtr="0"/>
          <a:lstStyle/>
          <a:p>
            <a:pPr>
              <a:defRPr sz="900"/>
            </a:pPr>
            <a:endParaRPr lang="ru-RU"/>
          </a:p>
        </c:txPr>
        <c:crossAx val="2139771800"/>
        <c:crossesAt val="-50"/>
        <c:auto val="0"/>
        <c:lblAlgn val="ctr"/>
        <c:lblOffset val="50"/>
        <c:noMultiLvlLbl val="0"/>
      </c:catAx>
      <c:valAx>
        <c:axId val="2139771800"/>
        <c:scaling>
          <c:orientation val="minMax"/>
          <c:min val="-4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>
                <a:solidFill>
                  <a:schemeClr val="bg1"/>
                </a:solidFill>
              </a:defRPr>
            </a:pPr>
            <a:endParaRPr lang="ru-RU"/>
          </a:p>
        </c:txPr>
        <c:crossAx val="2139768312"/>
        <c:crosses val="autoZero"/>
        <c:crossBetween val="midCat"/>
      </c:valAx>
      <c:valAx>
        <c:axId val="2139775352"/>
        <c:scaling>
          <c:orientation val="minMax"/>
          <c:min val="-40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>
                <a:solidFill>
                  <a:schemeClr val="bg1"/>
                </a:solidFill>
              </a:defRPr>
            </a:pPr>
            <a:endParaRPr lang="ru-RU"/>
          </a:p>
        </c:txPr>
        <c:crossAx val="2139779048"/>
        <c:crosses val="max"/>
        <c:crossBetween val="between"/>
      </c:valAx>
      <c:dateAx>
        <c:axId val="2139779048"/>
        <c:scaling>
          <c:orientation val="minMax"/>
        </c:scaling>
        <c:delete val="1"/>
        <c:axPos val="b"/>
        <c:numFmt formatCode="[$-419]d\ mmm;@" sourceLinked="1"/>
        <c:majorTickMark val="out"/>
        <c:minorTickMark val="none"/>
        <c:tickLblPos val="nextTo"/>
        <c:crossAx val="2139775352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107994527032703"/>
          <c:y val="0.105977433050048"/>
          <c:w val="0.80405986901034998"/>
          <c:h val="7.8706625293000806E-2"/>
        </c:manualLayout>
      </c:layout>
      <c:overlay val="0"/>
      <c:txPr>
        <a:bodyPr/>
        <a:lstStyle/>
        <a:p>
          <a:pPr>
            <a:defRPr sz="1000">
              <a:solidFill>
                <a:schemeClr val="tx1">
                  <a:lumMod val="75000"/>
                  <a:lumOff val="25000"/>
                </a:schemeClr>
              </a:solidFill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vert="horz"/>
          <a:lstStyle/>
          <a:p>
            <a: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pPr>
            <a:r>
              <a:rPr lang="ru-RU" dirty="0" smtClean="0">
                <a:solidFill>
                  <a:schemeClr val="bg1"/>
                </a:solidFill>
              </a:rPr>
              <a:t>Москва + обл.</a:t>
            </a:r>
            <a:endParaRPr lang="ru-RU" dirty="0">
              <a:solidFill>
                <a:schemeClr val="bg1"/>
              </a:solidFill>
            </a:endParaRPr>
          </a:p>
        </c:rich>
      </c:tx>
      <c:layout>
        <c:manualLayout>
          <c:xMode val="edge"/>
          <c:yMode val="edge"/>
          <c:x val="0.39892375057516299"/>
          <c:y val="0.511150649438051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4.66603424297964E-2"/>
          <c:y val="0.119239994224975"/>
          <c:w val="0.907619222952607"/>
          <c:h val="0.71003869217307303"/>
        </c:manualLayout>
      </c:layout>
      <c:areaChart>
        <c:grouping val="standard"/>
        <c:varyColors val="0"/>
        <c:ser>
          <c:idx val="5"/>
          <c:order val="1"/>
          <c:tx>
            <c:strRef>
              <c:f>Лист1!$C$1</c:f>
              <c:strCache>
                <c:ptCount val="1"/>
                <c:pt idx="0">
                  <c:v>Триггер</c:v>
                </c:pt>
              </c:strCache>
            </c:strRef>
          </c:tx>
          <c:spPr>
            <a:solidFill>
              <a:schemeClr val="tx1">
                <a:lumMod val="85000"/>
                <a:lumOff val="15000"/>
              </a:schemeClr>
            </a:solidFill>
            <a:ln w="25400">
              <a:noFill/>
            </a:ln>
          </c:spPr>
          <c:cat>
            <c:numRef>
              <c:f>Лист1!$A$2:$A$98</c:f>
              <c:numCache>
                <c:formatCode>General</c:formatCode>
                <c:ptCount val="97"/>
                <c:pt idx="0" formatCode="[$-419]d\ mmm;@">
                  <c:v>42675</c:v>
                </c:pt>
                <c:pt idx="30" formatCode="[$-419]d\ mmm;@">
                  <c:v>42705</c:v>
                </c:pt>
                <c:pt idx="61" formatCode="[$-419]d\ mmm;@">
                  <c:v>42736</c:v>
                </c:pt>
                <c:pt idx="92" formatCode="[$-419]d\ mmm;@">
                  <c:v>42767</c:v>
                </c:pt>
              </c:numCache>
            </c:numRef>
          </c:cat>
          <c:val>
            <c:numRef>
              <c:f>Лист1!$C$2:$C$98</c:f>
              <c:numCache>
                <c:formatCode>General</c:formatCode>
                <c:ptCount val="97"/>
                <c:pt idx="0">
                  <c:v>-1</c:v>
                </c:pt>
                <c:pt idx="1">
                  <c:v>1</c:v>
                </c:pt>
                <c:pt idx="2">
                  <c:v>-3</c:v>
                </c:pt>
                <c:pt idx="3">
                  <c:v>-8</c:v>
                </c:pt>
                <c:pt idx="4">
                  <c:v>-10</c:v>
                </c:pt>
                <c:pt idx="5">
                  <c:v>-9</c:v>
                </c:pt>
                <c:pt idx="6">
                  <c:v>1</c:v>
                </c:pt>
                <c:pt idx="7">
                  <c:v>-10</c:v>
                </c:pt>
                <c:pt idx="8">
                  <c:v>-21</c:v>
                </c:pt>
                <c:pt idx="9">
                  <c:v>-13</c:v>
                </c:pt>
                <c:pt idx="10">
                  <c:v>-9</c:v>
                </c:pt>
                <c:pt idx="11">
                  <c:v>-17</c:v>
                </c:pt>
                <c:pt idx="12">
                  <c:v>-17</c:v>
                </c:pt>
                <c:pt idx="13">
                  <c:v>-2</c:v>
                </c:pt>
                <c:pt idx="14">
                  <c:v>-9</c:v>
                </c:pt>
                <c:pt idx="15">
                  <c:v>-15</c:v>
                </c:pt>
                <c:pt idx="16">
                  <c:v>-19</c:v>
                </c:pt>
                <c:pt idx="17">
                  <c:v>-11</c:v>
                </c:pt>
                <c:pt idx="18">
                  <c:v>-14</c:v>
                </c:pt>
                <c:pt idx="19">
                  <c:v>-15</c:v>
                </c:pt>
                <c:pt idx="20">
                  <c:v>-2</c:v>
                </c:pt>
                <c:pt idx="21">
                  <c:v>-5</c:v>
                </c:pt>
                <c:pt idx="22">
                  <c:v>-3</c:v>
                </c:pt>
                <c:pt idx="23">
                  <c:v>1</c:v>
                </c:pt>
                <c:pt idx="24">
                  <c:v>-3</c:v>
                </c:pt>
                <c:pt idx="25">
                  <c:v>-10</c:v>
                </c:pt>
                <c:pt idx="26">
                  <c:v>-11</c:v>
                </c:pt>
                <c:pt idx="27">
                  <c:v>5</c:v>
                </c:pt>
                <c:pt idx="28">
                  <c:v>1</c:v>
                </c:pt>
                <c:pt idx="29">
                  <c:v>3</c:v>
                </c:pt>
                <c:pt idx="30">
                  <c:v>6</c:v>
                </c:pt>
                <c:pt idx="31">
                  <c:v>8</c:v>
                </c:pt>
                <c:pt idx="32">
                  <c:v>5</c:v>
                </c:pt>
                <c:pt idx="33">
                  <c:v>3</c:v>
                </c:pt>
                <c:pt idx="34">
                  <c:v>22</c:v>
                </c:pt>
                <c:pt idx="35">
                  <c:v>16</c:v>
                </c:pt>
                <c:pt idx="36">
                  <c:v>18</c:v>
                </c:pt>
                <c:pt idx="37">
                  <c:v>22</c:v>
                </c:pt>
                <c:pt idx="38">
                  <c:v>23</c:v>
                </c:pt>
                <c:pt idx="39">
                  <c:v>17</c:v>
                </c:pt>
                <c:pt idx="40">
                  <c:v>23</c:v>
                </c:pt>
                <c:pt idx="41">
                  <c:v>48</c:v>
                </c:pt>
                <c:pt idx="42">
                  <c:v>42</c:v>
                </c:pt>
                <c:pt idx="43">
                  <c:v>43</c:v>
                </c:pt>
                <c:pt idx="44">
                  <c:v>42</c:v>
                </c:pt>
                <c:pt idx="45">
                  <c:v>43</c:v>
                </c:pt>
                <c:pt idx="46">
                  <c:v>40</c:v>
                </c:pt>
                <c:pt idx="47">
                  <c:v>38</c:v>
                </c:pt>
                <c:pt idx="48">
                  <c:v>65</c:v>
                </c:pt>
                <c:pt idx="49">
                  <c:v>54</c:v>
                </c:pt>
                <c:pt idx="50">
                  <c:v>29</c:v>
                </c:pt>
                <c:pt idx="51">
                  <c:v>42</c:v>
                </c:pt>
                <c:pt idx="52">
                  <c:v>48</c:v>
                </c:pt>
                <c:pt idx="53">
                  <c:v>40</c:v>
                </c:pt>
                <c:pt idx="54">
                  <c:v>31</c:v>
                </c:pt>
                <c:pt idx="55">
                  <c:v>59</c:v>
                </c:pt>
                <c:pt idx="56">
                  <c:v>48</c:v>
                </c:pt>
                <c:pt idx="57">
                  <c:v>43</c:v>
                </c:pt>
                <c:pt idx="58">
                  <c:v>41</c:v>
                </c:pt>
                <c:pt idx="59">
                  <c:v>29</c:v>
                </c:pt>
                <c:pt idx="60">
                  <c:v>12</c:v>
                </c:pt>
                <c:pt idx="61">
                  <c:v>1</c:v>
                </c:pt>
                <c:pt idx="62">
                  <c:v>15</c:v>
                </c:pt>
                <c:pt idx="63">
                  <c:v>2</c:v>
                </c:pt>
                <c:pt idx="64">
                  <c:v>2</c:v>
                </c:pt>
                <c:pt idx="65">
                  <c:v>4</c:v>
                </c:pt>
                <c:pt idx="66">
                  <c:v>-3</c:v>
                </c:pt>
                <c:pt idx="67">
                  <c:v>-8</c:v>
                </c:pt>
                <c:pt idx="68">
                  <c:v>-12</c:v>
                </c:pt>
                <c:pt idx="69">
                  <c:v>9</c:v>
                </c:pt>
                <c:pt idx="70">
                  <c:v>2</c:v>
                </c:pt>
                <c:pt idx="71">
                  <c:v>4</c:v>
                </c:pt>
                <c:pt idx="72">
                  <c:v>0</c:v>
                </c:pt>
                <c:pt idx="73">
                  <c:v>0</c:v>
                </c:pt>
                <c:pt idx="74">
                  <c:v>-12</c:v>
                </c:pt>
                <c:pt idx="75">
                  <c:v>-17</c:v>
                </c:pt>
                <c:pt idx="76">
                  <c:v>-13</c:v>
                </c:pt>
                <c:pt idx="77">
                  <c:v>-21</c:v>
                </c:pt>
                <c:pt idx="78">
                  <c:v>-11</c:v>
                </c:pt>
                <c:pt idx="79">
                  <c:v>-14</c:v>
                </c:pt>
                <c:pt idx="80">
                  <c:v>-13</c:v>
                </c:pt>
                <c:pt idx="81">
                  <c:v>-17</c:v>
                </c:pt>
                <c:pt idx="82">
                  <c:v>-23</c:v>
                </c:pt>
                <c:pt idx="83">
                  <c:v>-4</c:v>
                </c:pt>
                <c:pt idx="84">
                  <c:v>-15</c:v>
                </c:pt>
                <c:pt idx="85">
                  <c:v>-19</c:v>
                </c:pt>
                <c:pt idx="86">
                  <c:v>-14</c:v>
                </c:pt>
                <c:pt idx="87">
                  <c:v>-14</c:v>
                </c:pt>
                <c:pt idx="88">
                  <c:v>-21</c:v>
                </c:pt>
                <c:pt idx="89">
                  <c:v>-22</c:v>
                </c:pt>
                <c:pt idx="90">
                  <c:v>-9</c:v>
                </c:pt>
                <c:pt idx="91">
                  <c:v>-11</c:v>
                </c:pt>
                <c:pt idx="92">
                  <c:v>-11</c:v>
                </c:pt>
                <c:pt idx="93">
                  <c:v>-13</c:v>
                </c:pt>
                <c:pt idx="94">
                  <c:v>-43</c:v>
                </c:pt>
                <c:pt idx="95">
                  <c:v>-22</c:v>
                </c:pt>
                <c:pt idx="96">
                  <c:v>-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48-43B6-B69E-E62C3D9007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139859944"/>
        <c:axId val="2139856248"/>
      </c:areaChar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НИИ Гриппа</c:v>
                </c:pt>
              </c:strCache>
            </c:strRef>
          </c:tx>
          <c:spPr>
            <a:ln w="28575" cap="rnd">
              <a:solidFill>
                <a:srgbClr val="FF0066"/>
              </a:solidFill>
              <a:round/>
            </a:ln>
            <a:effectLst/>
          </c:spPr>
          <c:marker>
            <c:symbol val="none"/>
          </c:marker>
          <c:cat>
            <c:numRef>
              <c:f>Лист1!$A$2:$A$98</c:f>
              <c:numCache>
                <c:formatCode>General</c:formatCode>
                <c:ptCount val="97"/>
                <c:pt idx="0" formatCode="[$-419]d\ mmm;@">
                  <c:v>42675</c:v>
                </c:pt>
                <c:pt idx="30" formatCode="[$-419]d\ mmm;@">
                  <c:v>42705</c:v>
                </c:pt>
                <c:pt idx="61" formatCode="[$-419]d\ mmm;@">
                  <c:v>42736</c:v>
                </c:pt>
                <c:pt idx="92" formatCode="[$-419]d\ mmm;@">
                  <c:v>42767</c:v>
                </c:pt>
              </c:numCache>
            </c:numRef>
          </c:cat>
          <c:val>
            <c:numRef>
              <c:f>Лист1!$B$2:$B$98</c:f>
              <c:numCache>
                <c:formatCode>General</c:formatCode>
                <c:ptCount val="97"/>
                <c:pt idx="0">
                  <c:v>-31.3</c:v>
                </c:pt>
                <c:pt idx="1">
                  <c:v>-31.3</c:v>
                </c:pt>
                <c:pt idx="2">
                  <c:v>-31.3</c:v>
                </c:pt>
                <c:pt idx="3">
                  <c:v>-31.3</c:v>
                </c:pt>
                <c:pt idx="4">
                  <c:v>-31.3</c:v>
                </c:pt>
                <c:pt idx="5">
                  <c:v>-31.3</c:v>
                </c:pt>
                <c:pt idx="6">
                  <c:v>-18.600000000000001</c:v>
                </c:pt>
                <c:pt idx="7">
                  <c:v>-18.600000000000001</c:v>
                </c:pt>
                <c:pt idx="8">
                  <c:v>-18.600000000000001</c:v>
                </c:pt>
                <c:pt idx="9">
                  <c:v>-18.600000000000001</c:v>
                </c:pt>
                <c:pt idx="10">
                  <c:v>-18.600000000000001</c:v>
                </c:pt>
                <c:pt idx="11">
                  <c:v>-18.600000000000001</c:v>
                </c:pt>
                <c:pt idx="12">
                  <c:v>-18.600000000000001</c:v>
                </c:pt>
                <c:pt idx="13">
                  <c:v>-23.9</c:v>
                </c:pt>
                <c:pt idx="14">
                  <c:v>-23.9</c:v>
                </c:pt>
                <c:pt idx="15">
                  <c:v>-23.9</c:v>
                </c:pt>
                <c:pt idx="16">
                  <c:v>-23.9</c:v>
                </c:pt>
                <c:pt idx="17">
                  <c:v>-23.9</c:v>
                </c:pt>
                <c:pt idx="18">
                  <c:v>-23.9</c:v>
                </c:pt>
                <c:pt idx="19">
                  <c:v>-23.9</c:v>
                </c:pt>
                <c:pt idx="20">
                  <c:v>-18.5</c:v>
                </c:pt>
                <c:pt idx="21">
                  <c:v>-18.5</c:v>
                </c:pt>
                <c:pt idx="22">
                  <c:v>-18.5</c:v>
                </c:pt>
                <c:pt idx="23">
                  <c:v>-18.5</c:v>
                </c:pt>
                <c:pt idx="24">
                  <c:v>-18.5</c:v>
                </c:pt>
                <c:pt idx="25">
                  <c:v>-18.5</c:v>
                </c:pt>
                <c:pt idx="26">
                  <c:v>-18.5</c:v>
                </c:pt>
                <c:pt idx="27">
                  <c:v>-2.4</c:v>
                </c:pt>
                <c:pt idx="28">
                  <c:v>-2.4</c:v>
                </c:pt>
                <c:pt idx="29">
                  <c:v>-2.4</c:v>
                </c:pt>
                <c:pt idx="30">
                  <c:v>-2.4</c:v>
                </c:pt>
                <c:pt idx="31">
                  <c:v>-2.4</c:v>
                </c:pt>
                <c:pt idx="32">
                  <c:v>-2.4</c:v>
                </c:pt>
                <c:pt idx="33">
                  <c:v>-2.4</c:v>
                </c:pt>
                <c:pt idx="34">
                  <c:v>30.8</c:v>
                </c:pt>
                <c:pt idx="35">
                  <c:v>30.8</c:v>
                </c:pt>
                <c:pt idx="36">
                  <c:v>30.8</c:v>
                </c:pt>
                <c:pt idx="37">
                  <c:v>30.8</c:v>
                </c:pt>
                <c:pt idx="38">
                  <c:v>30.8</c:v>
                </c:pt>
                <c:pt idx="39">
                  <c:v>30.8</c:v>
                </c:pt>
                <c:pt idx="40">
                  <c:v>30.8</c:v>
                </c:pt>
                <c:pt idx="41">
                  <c:v>63.6</c:v>
                </c:pt>
                <c:pt idx="42">
                  <c:v>63.6</c:v>
                </c:pt>
                <c:pt idx="43">
                  <c:v>63.6</c:v>
                </c:pt>
                <c:pt idx="44">
                  <c:v>63.6</c:v>
                </c:pt>
                <c:pt idx="45">
                  <c:v>63.6</c:v>
                </c:pt>
                <c:pt idx="46">
                  <c:v>63.6</c:v>
                </c:pt>
                <c:pt idx="47">
                  <c:v>63.6</c:v>
                </c:pt>
                <c:pt idx="48">
                  <c:v>54.3</c:v>
                </c:pt>
                <c:pt idx="49">
                  <c:v>54.3</c:v>
                </c:pt>
                <c:pt idx="50">
                  <c:v>54.3</c:v>
                </c:pt>
                <c:pt idx="51">
                  <c:v>54.3</c:v>
                </c:pt>
                <c:pt idx="52">
                  <c:v>54.3</c:v>
                </c:pt>
                <c:pt idx="53">
                  <c:v>54.3</c:v>
                </c:pt>
                <c:pt idx="54">
                  <c:v>54.3</c:v>
                </c:pt>
                <c:pt idx="55">
                  <c:v>34.4</c:v>
                </c:pt>
                <c:pt idx="56">
                  <c:v>34.4</c:v>
                </c:pt>
                <c:pt idx="57">
                  <c:v>34.4</c:v>
                </c:pt>
                <c:pt idx="58">
                  <c:v>34.4</c:v>
                </c:pt>
                <c:pt idx="59">
                  <c:v>34.4</c:v>
                </c:pt>
                <c:pt idx="60">
                  <c:v>34.4</c:v>
                </c:pt>
                <c:pt idx="61">
                  <c:v>34.4</c:v>
                </c:pt>
                <c:pt idx="62">
                  <c:v>-23</c:v>
                </c:pt>
                <c:pt idx="63">
                  <c:v>-23</c:v>
                </c:pt>
                <c:pt idx="64">
                  <c:v>-23</c:v>
                </c:pt>
                <c:pt idx="65">
                  <c:v>-23</c:v>
                </c:pt>
                <c:pt idx="66">
                  <c:v>-23</c:v>
                </c:pt>
                <c:pt idx="67">
                  <c:v>-23</c:v>
                </c:pt>
                <c:pt idx="68">
                  <c:v>-23</c:v>
                </c:pt>
                <c:pt idx="69">
                  <c:v>-3.8</c:v>
                </c:pt>
                <c:pt idx="70">
                  <c:v>-3.8</c:v>
                </c:pt>
                <c:pt idx="71">
                  <c:v>-3.8</c:v>
                </c:pt>
                <c:pt idx="72">
                  <c:v>-3.8</c:v>
                </c:pt>
                <c:pt idx="73">
                  <c:v>-3.8</c:v>
                </c:pt>
                <c:pt idx="74">
                  <c:v>-3.8</c:v>
                </c:pt>
                <c:pt idx="75">
                  <c:v>-3.8</c:v>
                </c:pt>
                <c:pt idx="76">
                  <c:v>-18.2</c:v>
                </c:pt>
                <c:pt idx="77">
                  <c:v>-18.2</c:v>
                </c:pt>
                <c:pt idx="78">
                  <c:v>-18.2</c:v>
                </c:pt>
                <c:pt idx="79">
                  <c:v>-18.2</c:v>
                </c:pt>
                <c:pt idx="80">
                  <c:v>-18.2</c:v>
                </c:pt>
                <c:pt idx="81">
                  <c:v>-18.2</c:v>
                </c:pt>
                <c:pt idx="82">
                  <c:v>-18.2</c:v>
                </c:pt>
                <c:pt idx="83">
                  <c:v>-23.8</c:v>
                </c:pt>
                <c:pt idx="84">
                  <c:v>-23.8</c:v>
                </c:pt>
                <c:pt idx="85">
                  <c:v>-23.8</c:v>
                </c:pt>
                <c:pt idx="86">
                  <c:v>-23.8</c:v>
                </c:pt>
                <c:pt idx="87">
                  <c:v>-23.8</c:v>
                </c:pt>
                <c:pt idx="88">
                  <c:v>-23.8</c:v>
                </c:pt>
                <c:pt idx="89">
                  <c:v>-23.8</c:v>
                </c:pt>
                <c:pt idx="90">
                  <c:v>-22.9</c:v>
                </c:pt>
                <c:pt idx="91">
                  <c:v>-22.9</c:v>
                </c:pt>
                <c:pt idx="92">
                  <c:v>-22.9</c:v>
                </c:pt>
                <c:pt idx="93">
                  <c:v>-22.9</c:v>
                </c:pt>
                <c:pt idx="94">
                  <c:v>-22.9</c:v>
                </c:pt>
                <c:pt idx="95">
                  <c:v>-22.9</c:v>
                </c:pt>
                <c:pt idx="96">
                  <c:v>-22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648-43B6-B69E-E62C3D9007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39849208"/>
        <c:axId val="2139852696"/>
      </c:lineChart>
      <c:catAx>
        <c:axId val="2139849208"/>
        <c:scaling>
          <c:orientation val="minMax"/>
        </c:scaling>
        <c:delete val="0"/>
        <c:axPos val="b"/>
        <c:numFmt formatCode="[$-419]d\ mmm;@" sourceLinked="1"/>
        <c:majorTickMark val="none"/>
        <c:minorTickMark val="none"/>
        <c:tickLblPos val="nextTo"/>
        <c:spPr>
          <a:solidFill>
            <a:schemeClr val="bg1"/>
          </a:solidFill>
          <a:ln w="9525" cap="flat" cmpd="sng" algn="ctr">
            <a:noFill/>
            <a:round/>
          </a:ln>
          <a:effectLst/>
        </c:spPr>
        <c:txPr>
          <a:bodyPr rot="60000" vert="horz" anchor="ctr" anchorCtr="0"/>
          <a:lstStyle/>
          <a:p>
            <a:pPr>
              <a:defRPr sz="900"/>
            </a:pPr>
            <a:endParaRPr lang="ru-RU"/>
          </a:p>
        </c:txPr>
        <c:crossAx val="2139852696"/>
        <c:crossesAt val="-50"/>
        <c:auto val="0"/>
        <c:lblAlgn val="ctr"/>
        <c:lblOffset val="50"/>
        <c:noMultiLvlLbl val="0"/>
      </c:catAx>
      <c:valAx>
        <c:axId val="2139852696"/>
        <c:scaling>
          <c:orientation val="minMax"/>
          <c:min val="-4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>
                <a:solidFill>
                  <a:schemeClr val="bg1"/>
                </a:solidFill>
              </a:defRPr>
            </a:pPr>
            <a:endParaRPr lang="ru-RU"/>
          </a:p>
        </c:txPr>
        <c:crossAx val="2139849208"/>
        <c:crosses val="autoZero"/>
        <c:crossBetween val="midCat"/>
      </c:valAx>
      <c:valAx>
        <c:axId val="2139856248"/>
        <c:scaling>
          <c:orientation val="minMax"/>
          <c:min val="-40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>
                <a:solidFill>
                  <a:schemeClr val="bg1"/>
                </a:solidFill>
              </a:defRPr>
            </a:pPr>
            <a:endParaRPr lang="ru-RU"/>
          </a:p>
        </c:txPr>
        <c:crossAx val="2139859944"/>
        <c:crosses val="max"/>
        <c:crossBetween val="between"/>
      </c:valAx>
      <c:dateAx>
        <c:axId val="2139859944"/>
        <c:scaling>
          <c:orientation val="minMax"/>
        </c:scaling>
        <c:delete val="1"/>
        <c:axPos val="b"/>
        <c:numFmt formatCode="[$-419]d\ mmm;@" sourceLinked="1"/>
        <c:majorTickMark val="out"/>
        <c:minorTickMark val="none"/>
        <c:tickLblPos val="nextTo"/>
        <c:crossAx val="2139856248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107994527032703"/>
          <c:y val="0.105977433050048"/>
          <c:w val="0.80405986901034998"/>
          <c:h val="7.8706625293000806E-2"/>
        </c:manualLayout>
      </c:layout>
      <c:overlay val="0"/>
      <c:txPr>
        <a:bodyPr/>
        <a:lstStyle/>
        <a:p>
          <a:pPr>
            <a:defRPr sz="1000">
              <a:solidFill>
                <a:schemeClr val="tx1">
                  <a:lumMod val="75000"/>
                  <a:lumOff val="25000"/>
                </a:schemeClr>
              </a:solidFill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4891268405727401E-2"/>
          <c:y val="0.272309886666387"/>
          <c:w val="0.87845167607515995"/>
          <c:h val="0.47409990193012203"/>
        </c:manualLayout>
      </c:layout>
      <c:area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Триггер</c:v>
                </c:pt>
              </c:strCache>
            </c:strRef>
          </c:tx>
          <c:spPr>
            <a:solidFill>
              <a:schemeClr val="bg1"/>
            </a:solidFill>
            <a:ln w="38101">
              <a:noFill/>
              <a:prstDash val="lgDash"/>
            </a:ln>
          </c:spPr>
          <c:cat>
            <c:numRef>
              <c:f>Sheet1!$B$1:$N$1</c:f>
              <c:numCache>
                <c:formatCode>General</c:formatCode>
                <c:ptCount val="13"/>
                <c:pt idx="0" formatCode="[$-419]d\ mmm;@">
                  <c:v>42709</c:v>
                </c:pt>
                <c:pt idx="4" formatCode="[$-419]d\ mmm;@">
                  <c:v>42737</c:v>
                </c:pt>
                <c:pt idx="8" formatCode="[$-419]d\ mmm;@">
                  <c:v>42765</c:v>
                </c:pt>
                <c:pt idx="11" formatCode="[$-419]d\ mmm;@">
                  <c:v>42786</c:v>
                </c:pt>
              </c:numCache>
            </c:numRef>
          </c:cat>
          <c:val>
            <c:numRef>
              <c:f>Sheet1!$B$2:$N$2</c:f>
              <c:numCache>
                <c:formatCode>0</c:formatCode>
                <c:ptCount val="13"/>
                <c:pt idx="0">
                  <c:v>100.0000000000114</c:v>
                </c:pt>
                <c:pt idx="1">
                  <c:v>118.45238095239441</c:v>
                </c:pt>
                <c:pt idx="2">
                  <c:v>136.7559523809679</c:v>
                </c:pt>
                <c:pt idx="3">
                  <c:v>154.01785714287459</c:v>
                </c:pt>
                <c:pt idx="4">
                  <c:v>133.63095238096761</c:v>
                </c:pt>
                <c:pt idx="5">
                  <c:v>123.6607142857283</c:v>
                </c:pt>
                <c:pt idx="6">
                  <c:v>107.7380952381075</c:v>
                </c:pt>
                <c:pt idx="7">
                  <c:v>95.833333333344186</c:v>
                </c:pt>
                <c:pt idx="8">
                  <c:v>89.28571428572441</c:v>
                </c:pt>
                <c:pt idx="9">
                  <c:v>91.071428571438872</c:v>
                </c:pt>
                <c:pt idx="10">
                  <c:v>95.982142857153661</c:v>
                </c:pt>
                <c:pt idx="11">
                  <c:v>98.363095238106411</c:v>
                </c:pt>
                <c:pt idx="12">
                  <c:v>82.2916666666760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4AB-43A5-A098-9320701810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139903352"/>
        <c:axId val="2139906904"/>
      </c:areaChart>
      <c:lineChart>
        <c:grouping val="standard"/>
        <c:varyColors val="0"/>
        <c:ser>
          <c:idx val="1"/>
          <c:order val="1"/>
          <c:tx>
            <c:strRef>
              <c:f>Sheet1!$A$3</c:f>
              <c:strCache>
                <c:ptCount val="1"/>
                <c:pt idx="0">
                  <c:v>Системные препараты</c:v>
                </c:pt>
              </c:strCache>
            </c:strRef>
          </c:tx>
          <c:spPr>
            <a:ln w="25401">
              <a:solidFill>
                <a:srgbClr val="E46C0A"/>
              </a:solidFill>
              <a:prstDash val="solid"/>
            </a:ln>
          </c:spPr>
          <c:marker>
            <c:symbol val="none"/>
          </c:marker>
          <c:cat>
            <c:numRef>
              <c:f>Sheet1!$B$1:$N$1</c:f>
              <c:numCache>
                <c:formatCode>General</c:formatCode>
                <c:ptCount val="13"/>
                <c:pt idx="0" formatCode="[$-419]d\ mmm;@">
                  <c:v>42709</c:v>
                </c:pt>
                <c:pt idx="4" formatCode="[$-419]d\ mmm;@">
                  <c:v>42737</c:v>
                </c:pt>
                <c:pt idx="8" formatCode="[$-419]d\ mmm;@">
                  <c:v>42765</c:v>
                </c:pt>
                <c:pt idx="11" formatCode="[$-419]d\ mmm;@">
                  <c:v>42786</c:v>
                </c:pt>
              </c:numCache>
            </c:numRef>
          </c:cat>
          <c:val>
            <c:numRef>
              <c:f>Sheet1!$B$3:$N$3</c:f>
              <c:numCache>
                <c:formatCode>0</c:formatCode>
                <c:ptCount val="13"/>
                <c:pt idx="0">
                  <c:v>100.0000000000114</c:v>
                </c:pt>
                <c:pt idx="1">
                  <c:v>121.3413657606787</c:v>
                </c:pt>
                <c:pt idx="2">
                  <c:v>134.8537673541808</c:v>
                </c:pt>
                <c:pt idx="3">
                  <c:v>149.3250699436658</c:v>
                </c:pt>
                <c:pt idx="4">
                  <c:v>121.2783906690141</c:v>
                </c:pt>
                <c:pt idx="5">
                  <c:v>116.7264643139727</c:v>
                </c:pt>
                <c:pt idx="6">
                  <c:v>108.7355406675017</c:v>
                </c:pt>
                <c:pt idx="7">
                  <c:v>102.9415558697095</c:v>
                </c:pt>
                <c:pt idx="8">
                  <c:v>96.733608061969264</c:v>
                </c:pt>
                <c:pt idx="9">
                  <c:v>96.193772480899625</c:v>
                </c:pt>
                <c:pt idx="10">
                  <c:v>95.819425747953446</c:v>
                </c:pt>
                <c:pt idx="11">
                  <c:v>84.494223850356505</c:v>
                </c:pt>
                <c:pt idx="12">
                  <c:v>75.5339265524719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4AB-43A5-A098-93207018107E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Препараты для горла</c:v>
                </c:pt>
              </c:strCache>
            </c:strRef>
          </c:tx>
          <c:spPr>
            <a:ln w="25401">
              <a:solidFill>
                <a:srgbClr val="92D050"/>
              </a:solidFill>
              <a:prstDash val="solid"/>
            </a:ln>
          </c:spPr>
          <c:marker>
            <c:symbol val="none"/>
          </c:marker>
          <c:cat>
            <c:numRef>
              <c:f>Sheet1!$B$1:$N$1</c:f>
              <c:numCache>
                <c:formatCode>General</c:formatCode>
                <c:ptCount val="13"/>
                <c:pt idx="0" formatCode="[$-419]d\ mmm;@">
                  <c:v>42709</c:v>
                </c:pt>
                <c:pt idx="4" formatCode="[$-419]d\ mmm;@">
                  <c:v>42737</c:v>
                </c:pt>
                <c:pt idx="8" formatCode="[$-419]d\ mmm;@">
                  <c:v>42765</c:v>
                </c:pt>
                <c:pt idx="11" formatCode="[$-419]d\ mmm;@">
                  <c:v>42786</c:v>
                </c:pt>
              </c:numCache>
            </c:numRef>
          </c:cat>
          <c:val>
            <c:numRef>
              <c:f>Sheet1!$B$4:$N$4</c:f>
              <c:numCache>
                <c:formatCode>0</c:formatCode>
                <c:ptCount val="13"/>
                <c:pt idx="0">
                  <c:v>100.0000000000114</c:v>
                </c:pt>
                <c:pt idx="1">
                  <c:v>117.41348509525621</c:v>
                </c:pt>
                <c:pt idx="2">
                  <c:v>120.57566536072621</c:v>
                </c:pt>
                <c:pt idx="3">
                  <c:v>128.1566366006266</c:v>
                </c:pt>
                <c:pt idx="4">
                  <c:v>106.7184253598794</c:v>
                </c:pt>
                <c:pt idx="5">
                  <c:v>96.29601719186401</c:v>
                </c:pt>
                <c:pt idx="6">
                  <c:v>95.74540588665738</c:v>
                </c:pt>
                <c:pt idx="7">
                  <c:v>89.894376317983031</c:v>
                </c:pt>
                <c:pt idx="8">
                  <c:v>86.277462781078697</c:v>
                </c:pt>
                <c:pt idx="9">
                  <c:v>88.406688345737194</c:v>
                </c:pt>
                <c:pt idx="10">
                  <c:v>91.565508042843348</c:v>
                </c:pt>
                <c:pt idx="11">
                  <c:v>85.183394107863975</c:v>
                </c:pt>
                <c:pt idx="12">
                  <c:v>76.7623062358742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4AB-43A5-A098-93207018107E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Препараты от насморка</c:v>
                </c:pt>
              </c:strCache>
            </c:strRef>
          </c:tx>
          <c:spPr>
            <a:ln w="31750">
              <a:solidFill>
                <a:srgbClr val="FF0066"/>
              </a:solidFill>
              <a:prstDash val="solid"/>
            </a:ln>
          </c:spPr>
          <c:marker>
            <c:symbol val="none"/>
          </c:marker>
          <c:cat>
            <c:numRef>
              <c:f>Sheet1!$B$1:$N$1</c:f>
              <c:numCache>
                <c:formatCode>General</c:formatCode>
                <c:ptCount val="13"/>
                <c:pt idx="0" formatCode="[$-419]d\ mmm;@">
                  <c:v>42709</c:v>
                </c:pt>
                <c:pt idx="4" formatCode="[$-419]d\ mmm;@">
                  <c:v>42737</c:v>
                </c:pt>
                <c:pt idx="8" formatCode="[$-419]d\ mmm;@">
                  <c:v>42765</c:v>
                </c:pt>
                <c:pt idx="11" formatCode="[$-419]d\ mmm;@">
                  <c:v>42786</c:v>
                </c:pt>
              </c:numCache>
            </c:numRef>
          </c:cat>
          <c:val>
            <c:numRef>
              <c:f>Sheet1!$B$5:$N$5</c:f>
              <c:numCache>
                <c:formatCode>0</c:formatCode>
                <c:ptCount val="13"/>
                <c:pt idx="0">
                  <c:v>100.0000000000114</c:v>
                </c:pt>
                <c:pt idx="1">
                  <c:v>108.0220611581839</c:v>
                </c:pt>
                <c:pt idx="2">
                  <c:v>109.2466357517891</c:v>
                </c:pt>
                <c:pt idx="3">
                  <c:v>114.7693338925844</c:v>
                </c:pt>
                <c:pt idx="4">
                  <c:v>91.193176250162253</c:v>
                </c:pt>
                <c:pt idx="5">
                  <c:v>100.8102418966125</c:v>
                </c:pt>
                <c:pt idx="6">
                  <c:v>93.741106742618726</c:v>
                </c:pt>
                <c:pt idx="7">
                  <c:v>89.771431035371549</c:v>
                </c:pt>
                <c:pt idx="8">
                  <c:v>86.016957457410328</c:v>
                </c:pt>
                <c:pt idx="9">
                  <c:v>89.614537315432159</c:v>
                </c:pt>
                <c:pt idx="10">
                  <c:v>94.354570007340911</c:v>
                </c:pt>
                <c:pt idx="11">
                  <c:v>84.169511855726086</c:v>
                </c:pt>
                <c:pt idx="12">
                  <c:v>77.6240744152587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4AB-43A5-A098-9320701810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39903352"/>
        <c:axId val="2139906904"/>
      </c:lineChart>
      <c:catAx>
        <c:axId val="2139903352"/>
        <c:scaling>
          <c:orientation val="minMax"/>
        </c:scaling>
        <c:delete val="0"/>
        <c:axPos val="b"/>
        <c:numFmt formatCode="[$-419]d\ mmm;@" sourceLinked="1"/>
        <c:majorTickMark val="none"/>
        <c:minorTickMark val="none"/>
        <c:tickLblPos val="nextTo"/>
        <c:spPr>
          <a:noFill/>
          <a:ln w="12700">
            <a:noFill/>
            <a:prstDash val="solid"/>
          </a:ln>
        </c:spPr>
        <c:txPr>
          <a:bodyPr rot="60000"/>
          <a:lstStyle/>
          <a:p>
            <a:pPr>
              <a:defRPr sz="900" b="1"/>
            </a:pPr>
            <a:endParaRPr lang="ru-RU"/>
          </a:p>
        </c:txPr>
        <c:crossAx val="2139906904"/>
        <c:crossesAt val="70"/>
        <c:auto val="0"/>
        <c:lblAlgn val="ctr"/>
        <c:lblOffset val="50"/>
        <c:noMultiLvlLbl val="0"/>
      </c:catAx>
      <c:valAx>
        <c:axId val="2139906904"/>
        <c:scaling>
          <c:orientation val="minMax"/>
          <c:min val="70"/>
        </c:scaling>
        <c:delete val="1"/>
        <c:axPos val="l"/>
        <c:numFmt formatCode="#,##0;\-#,##0" sourceLinked="0"/>
        <c:majorTickMark val="out"/>
        <c:minorTickMark val="none"/>
        <c:tickLblPos val="nextTo"/>
        <c:crossAx val="2139903352"/>
        <c:crosses val="autoZero"/>
        <c:crossBetween val="midCat"/>
      </c:valAx>
      <c:spPr>
        <a:noFill/>
        <a:ln w="25401">
          <a:noFill/>
        </a:ln>
      </c:spPr>
    </c:plotArea>
    <c:legend>
      <c:legendPos val="r"/>
      <c:layout>
        <c:manualLayout>
          <c:xMode val="edge"/>
          <c:yMode val="edge"/>
          <c:x val="1.23163293853602E-3"/>
          <c:y val="2.05638537975678E-2"/>
          <c:w val="0.99876837339797397"/>
          <c:h val="0.18267725208303701"/>
        </c:manualLayout>
      </c:layout>
      <c:overlay val="0"/>
      <c:txPr>
        <a:bodyPr/>
        <a:lstStyle/>
        <a:p>
          <a:pPr>
            <a:defRPr sz="1050" b="1"/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bg1"/>
          </a:solidFill>
          <a:latin typeface="Arial" panose="020B0604020202020204" pitchFamily="34" charset="0"/>
          <a:ea typeface="Calibri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62A74-A1E3-4A60-B3A9-3D25C5788250}" type="datetimeFigureOut">
              <a:rPr lang="ru-RU" smtClean="0"/>
              <a:t>24.05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65FCC2-E8F3-423D-BF4F-19A85EED393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52497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2" algn="l" defTabSz="9143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63" algn="l" defTabSz="9143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45" algn="l" defTabSz="9143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27" algn="l" defTabSz="9143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09" algn="l" defTabSz="9143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90" algn="l" defTabSz="9143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272" algn="l" defTabSz="9143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454" algn="l" defTabSz="9143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65FCC2-E8F3-423D-BF4F-19A85EED3933}" type="slidenum">
              <a:rPr lang="ru-RU" smtClean="0">
                <a:solidFill>
                  <a:prstClr val="black"/>
                </a:solidFill>
                <a:latin typeface="Calibri"/>
              </a:rPr>
              <a:pPr/>
              <a:t>3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912350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65FCC2-E8F3-423D-BF4F-19A85EED3933}" type="slidenum">
              <a:rPr lang="ru-RU" smtClean="0">
                <a:solidFill>
                  <a:prstClr val="black"/>
                </a:solidFill>
                <a:latin typeface="Calibri"/>
              </a:rPr>
              <a:pPr/>
              <a:t>4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912350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65FCC2-E8F3-423D-BF4F-19A85EED3933}" type="slidenum">
              <a:rPr lang="ru-RU" smtClean="0">
                <a:solidFill>
                  <a:prstClr val="black"/>
                </a:solidFill>
                <a:latin typeface="Calibri"/>
              </a:rPr>
              <a:pPr/>
              <a:t>5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912350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65FCC2-E8F3-423D-BF4F-19A85EED3933}" type="slidenum">
              <a:rPr lang="ru-RU" smtClean="0">
                <a:solidFill>
                  <a:prstClr val="black"/>
                </a:solidFill>
                <a:latin typeface="Calibri"/>
              </a:rPr>
              <a:pPr/>
              <a:t>6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912350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65FCC2-E8F3-423D-BF4F-19A85EED3933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3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58286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65FCC2-E8F3-423D-BF4F-19A85EED3933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16169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65FCC2-E8F3-423D-BF4F-19A85EED3933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68832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2" indent="0" algn="ctr">
              <a:buNone/>
              <a:defRPr sz="2100"/>
            </a:lvl2pPr>
            <a:lvl3pPr marL="914363" indent="0" algn="ctr">
              <a:buNone/>
              <a:defRPr sz="1800"/>
            </a:lvl3pPr>
            <a:lvl4pPr marL="1371545" indent="0" algn="ctr">
              <a:buNone/>
              <a:defRPr sz="1500"/>
            </a:lvl4pPr>
            <a:lvl5pPr marL="1828727" indent="0" algn="ctr">
              <a:buNone/>
              <a:defRPr sz="1500"/>
            </a:lvl5pPr>
            <a:lvl6pPr marL="2285909" indent="0" algn="ctr">
              <a:buNone/>
              <a:defRPr sz="1500"/>
            </a:lvl6pPr>
            <a:lvl7pPr marL="2743090" indent="0" algn="ctr">
              <a:buNone/>
              <a:defRPr sz="1500"/>
            </a:lvl7pPr>
            <a:lvl8pPr marL="3200272" indent="0" algn="ctr">
              <a:buNone/>
              <a:defRPr sz="1500"/>
            </a:lvl8pPr>
            <a:lvl9pPr marL="3657454" indent="0" algn="ctr">
              <a:buNone/>
              <a:defRPr sz="15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F3D88-53C1-4E7D-B0C1-463D65E64921}" type="datetimeFigureOut">
              <a:rPr lang="ru-RU" smtClean="0"/>
              <a:t>24.05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13A4D2-8A83-4FEE-AC1A-A2EF400F5F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16269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F3D88-53C1-4E7D-B0C1-463D65E64921}" type="datetimeFigureOut">
              <a:rPr lang="ru-RU" smtClean="0"/>
              <a:t>24.05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13A4D2-8A83-4FEE-AC1A-A2EF400F5F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1806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F3D88-53C1-4E7D-B0C1-463D65E64921}" type="datetimeFigureOut">
              <a:rPr lang="ru-RU" smtClean="0"/>
              <a:t>24.05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13A4D2-8A83-4FEE-AC1A-A2EF400F5F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280420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1470025"/>
          </a:xfrm>
          <a:prstGeom prst="rect">
            <a:avLst/>
          </a:prstGeom>
        </p:spPr>
        <p:txBody>
          <a:bodyPr lIns="117226" tIns="58613" rIns="117226" bIns="58613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86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722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7583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344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930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5167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1029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689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0DB45-381F-4E46-AA93-E607B324FE2C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4.05.2017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E00931-F721-0948-9507-7FC58DF35D5A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857648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609600" y="473291"/>
            <a:ext cx="10972800" cy="972744"/>
          </a:xfrm>
          <a:prstGeom prst="rect">
            <a:avLst/>
          </a:prstGeom>
        </p:spPr>
        <p:txBody>
          <a:bodyPr lIns="117226" tIns="58613" rIns="117226" bIns="58613"/>
          <a:lstStyle>
            <a:lvl1pPr>
              <a:defRPr sz="3600">
                <a:solidFill>
                  <a:srgbClr val="23A0F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0DB45-381F-4E46-AA93-E607B324FE2C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4.05.2017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E00931-F721-0948-9507-7FC58DF35D5A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445508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6"/>
          </a:xfrm>
          <a:prstGeom prst="rect">
            <a:avLst/>
          </a:prstGeom>
        </p:spPr>
        <p:txBody>
          <a:bodyPr lIns="117226" tIns="58613" rIns="117226" bIns="58613" anchor="t"/>
          <a:lstStyle>
            <a:lvl1pPr algn="l">
              <a:defRPr sz="51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1pPr>
            <a:lvl2pPr marL="58613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2pPr>
            <a:lvl3pPr marL="1172261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758391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34452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93065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5167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410291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68904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0DB45-381F-4E46-AA93-E607B324FE2C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4.05.2017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E00931-F721-0948-9507-7FC58DF35D5A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938485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lIns="117226" tIns="58613" rIns="117226" bIns="58613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333500"/>
            <a:ext cx="5384800" cy="3771900"/>
          </a:xfrm>
        </p:spPr>
        <p:txBody>
          <a:bodyPr/>
          <a:lstStyle>
            <a:lvl1pPr>
              <a:defRPr sz="3600"/>
            </a:lvl1pPr>
            <a:lvl2pPr>
              <a:defRPr sz="3100"/>
            </a:lvl2pPr>
            <a:lvl3pPr>
              <a:defRPr sz="26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333500"/>
            <a:ext cx="5384800" cy="3771900"/>
          </a:xfrm>
        </p:spPr>
        <p:txBody>
          <a:bodyPr/>
          <a:lstStyle>
            <a:lvl1pPr>
              <a:defRPr sz="3600"/>
            </a:lvl1pPr>
            <a:lvl2pPr>
              <a:defRPr sz="3100"/>
            </a:lvl2pPr>
            <a:lvl3pPr>
              <a:defRPr sz="26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0DB45-381F-4E46-AA93-E607B324FE2C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4.05.2017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E00931-F721-0948-9507-7FC58DF35D5A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316987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lIns="117226" tIns="58613" rIns="117226" bIns="58613"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4"/>
            <a:ext cx="5386917" cy="639762"/>
          </a:xfrm>
        </p:spPr>
        <p:txBody>
          <a:bodyPr anchor="b"/>
          <a:lstStyle>
            <a:lvl1pPr marL="0" indent="0">
              <a:buNone/>
              <a:defRPr sz="3100" b="1"/>
            </a:lvl1pPr>
            <a:lvl2pPr marL="586130" indent="0">
              <a:buNone/>
              <a:defRPr sz="2600" b="1"/>
            </a:lvl2pPr>
            <a:lvl3pPr marL="1172261" indent="0">
              <a:buNone/>
              <a:defRPr sz="2300" b="1"/>
            </a:lvl3pPr>
            <a:lvl4pPr marL="1758391" indent="0">
              <a:buNone/>
              <a:defRPr sz="2100" b="1"/>
            </a:lvl4pPr>
            <a:lvl5pPr marL="2344522" indent="0">
              <a:buNone/>
              <a:defRPr sz="2100" b="1"/>
            </a:lvl5pPr>
            <a:lvl6pPr marL="2930652" indent="0">
              <a:buNone/>
              <a:defRPr sz="2100" b="1"/>
            </a:lvl6pPr>
            <a:lvl7pPr marL="3516782" indent="0">
              <a:buNone/>
              <a:defRPr sz="2100" b="1"/>
            </a:lvl7pPr>
            <a:lvl8pPr marL="4102913" indent="0">
              <a:buNone/>
              <a:defRPr sz="2100" b="1"/>
            </a:lvl8pPr>
            <a:lvl9pPr marL="4689043" indent="0">
              <a:buNone/>
              <a:defRPr sz="21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3100"/>
            </a:lvl1pPr>
            <a:lvl2pPr>
              <a:defRPr sz="26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9" y="1535114"/>
            <a:ext cx="5389033" cy="639762"/>
          </a:xfrm>
        </p:spPr>
        <p:txBody>
          <a:bodyPr anchor="b"/>
          <a:lstStyle>
            <a:lvl1pPr marL="0" indent="0">
              <a:buNone/>
              <a:defRPr sz="3100" b="1"/>
            </a:lvl1pPr>
            <a:lvl2pPr marL="586130" indent="0">
              <a:buNone/>
              <a:defRPr sz="2600" b="1"/>
            </a:lvl2pPr>
            <a:lvl3pPr marL="1172261" indent="0">
              <a:buNone/>
              <a:defRPr sz="2300" b="1"/>
            </a:lvl3pPr>
            <a:lvl4pPr marL="1758391" indent="0">
              <a:buNone/>
              <a:defRPr sz="2100" b="1"/>
            </a:lvl4pPr>
            <a:lvl5pPr marL="2344522" indent="0">
              <a:buNone/>
              <a:defRPr sz="2100" b="1"/>
            </a:lvl5pPr>
            <a:lvl6pPr marL="2930652" indent="0">
              <a:buNone/>
              <a:defRPr sz="2100" b="1"/>
            </a:lvl6pPr>
            <a:lvl7pPr marL="3516782" indent="0">
              <a:buNone/>
              <a:defRPr sz="2100" b="1"/>
            </a:lvl7pPr>
            <a:lvl8pPr marL="4102913" indent="0">
              <a:buNone/>
              <a:defRPr sz="2100" b="1"/>
            </a:lvl8pPr>
            <a:lvl9pPr marL="4689043" indent="0">
              <a:buNone/>
              <a:defRPr sz="21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3100"/>
            </a:lvl1pPr>
            <a:lvl2pPr>
              <a:defRPr sz="26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0DB45-381F-4E46-AA93-E607B324FE2C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4.05.2017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E00931-F721-0948-9507-7FC58DF35D5A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906719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lIns="117226" tIns="58613" rIns="117226" bIns="58613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0DB45-381F-4E46-AA93-E607B324FE2C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4.05.2017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E00931-F721-0948-9507-7FC58DF35D5A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425431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0DB45-381F-4E46-AA93-E607B324FE2C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4.05.2017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E00931-F721-0948-9507-7FC58DF35D5A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16869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609602" y="273051"/>
            <a:ext cx="4011084" cy="1162050"/>
          </a:xfrm>
          <a:prstGeom prst="rect">
            <a:avLst/>
          </a:prstGeom>
        </p:spPr>
        <p:txBody>
          <a:bodyPr lIns="117226" tIns="58613" rIns="117226" bIns="58613" anchor="b"/>
          <a:lstStyle>
            <a:lvl1pPr algn="l">
              <a:defRPr sz="26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0"/>
            <a:ext cx="6815667" cy="5853113"/>
          </a:xfrm>
        </p:spPr>
        <p:txBody>
          <a:bodyPr/>
          <a:lstStyle>
            <a:lvl1pPr>
              <a:defRPr sz="4100"/>
            </a:lvl1pPr>
            <a:lvl2pPr>
              <a:defRPr sz="3600"/>
            </a:lvl2pPr>
            <a:lvl3pPr>
              <a:defRPr sz="3100"/>
            </a:lvl3pPr>
            <a:lvl4pPr>
              <a:defRPr sz="2600"/>
            </a:lvl4pPr>
            <a:lvl5pPr>
              <a:defRPr sz="2600"/>
            </a:lvl5pPr>
            <a:lvl6pPr>
              <a:defRPr sz="2600"/>
            </a:lvl6pPr>
            <a:lvl7pPr>
              <a:defRPr sz="2600"/>
            </a:lvl7pPr>
            <a:lvl8pPr>
              <a:defRPr sz="2600"/>
            </a:lvl8pPr>
            <a:lvl9pPr>
              <a:defRPr sz="2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2" y="1435101"/>
            <a:ext cx="4011084" cy="4691063"/>
          </a:xfrm>
        </p:spPr>
        <p:txBody>
          <a:bodyPr/>
          <a:lstStyle>
            <a:lvl1pPr marL="0" indent="0">
              <a:buNone/>
              <a:defRPr sz="1800"/>
            </a:lvl1pPr>
            <a:lvl2pPr marL="586130" indent="0">
              <a:buNone/>
              <a:defRPr sz="1500"/>
            </a:lvl2pPr>
            <a:lvl3pPr marL="1172261" indent="0">
              <a:buNone/>
              <a:defRPr sz="1300"/>
            </a:lvl3pPr>
            <a:lvl4pPr marL="1758391" indent="0">
              <a:buNone/>
              <a:defRPr sz="1200"/>
            </a:lvl4pPr>
            <a:lvl5pPr marL="2344522" indent="0">
              <a:buNone/>
              <a:defRPr sz="1200"/>
            </a:lvl5pPr>
            <a:lvl6pPr marL="2930652" indent="0">
              <a:buNone/>
              <a:defRPr sz="1200"/>
            </a:lvl6pPr>
            <a:lvl7pPr marL="3516782" indent="0">
              <a:buNone/>
              <a:defRPr sz="1200"/>
            </a:lvl7pPr>
            <a:lvl8pPr marL="4102913" indent="0">
              <a:buNone/>
              <a:defRPr sz="1200"/>
            </a:lvl8pPr>
            <a:lvl9pPr marL="4689043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0DB45-381F-4E46-AA93-E607B324FE2C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4.05.2017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E00931-F721-0948-9507-7FC58DF35D5A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519871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F3D88-53C1-4E7D-B0C1-463D65E64921}" type="datetimeFigureOut">
              <a:rPr lang="ru-RU" smtClean="0"/>
              <a:t>24.05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13A4D2-8A83-4FEE-AC1A-A2EF400F5F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1338623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lIns="117226" tIns="58613" rIns="117226" bIns="58613" anchor="b"/>
          <a:lstStyle>
            <a:lvl1pPr algn="l">
              <a:defRPr sz="26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4100"/>
            </a:lvl1pPr>
            <a:lvl2pPr marL="586130" indent="0">
              <a:buNone/>
              <a:defRPr sz="3600"/>
            </a:lvl2pPr>
            <a:lvl3pPr marL="1172261" indent="0">
              <a:buNone/>
              <a:defRPr sz="3100"/>
            </a:lvl3pPr>
            <a:lvl4pPr marL="1758391" indent="0">
              <a:buNone/>
              <a:defRPr sz="2600"/>
            </a:lvl4pPr>
            <a:lvl5pPr marL="2344522" indent="0">
              <a:buNone/>
              <a:defRPr sz="2600"/>
            </a:lvl5pPr>
            <a:lvl6pPr marL="2930652" indent="0">
              <a:buNone/>
              <a:defRPr sz="2600"/>
            </a:lvl6pPr>
            <a:lvl7pPr marL="3516782" indent="0">
              <a:buNone/>
              <a:defRPr sz="2600"/>
            </a:lvl7pPr>
            <a:lvl8pPr marL="4102913" indent="0">
              <a:buNone/>
              <a:defRPr sz="2600"/>
            </a:lvl8pPr>
            <a:lvl9pPr marL="4689043" indent="0">
              <a:buNone/>
              <a:defRPr sz="26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800"/>
            </a:lvl1pPr>
            <a:lvl2pPr marL="586130" indent="0">
              <a:buNone/>
              <a:defRPr sz="1500"/>
            </a:lvl2pPr>
            <a:lvl3pPr marL="1172261" indent="0">
              <a:buNone/>
              <a:defRPr sz="1300"/>
            </a:lvl3pPr>
            <a:lvl4pPr marL="1758391" indent="0">
              <a:buNone/>
              <a:defRPr sz="1200"/>
            </a:lvl4pPr>
            <a:lvl5pPr marL="2344522" indent="0">
              <a:buNone/>
              <a:defRPr sz="1200"/>
            </a:lvl5pPr>
            <a:lvl6pPr marL="2930652" indent="0">
              <a:buNone/>
              <a:defRPr sz="1200"/>
            </a:lvl6pPr>
            <a:lvl7pPr marL="3516782" indent="0">
              <a:buNone/>
              <a:defRPr sz="1200"/>
            </a:lvl7pPr>
            <a:lvl8pPr marL="4102913" indent="0">
              <a:buNone/>
              <a:defRPr sz="1200"/>
            </a:lvl8pPr>
            <a:lvl9pPr marL="4689043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0DB45-381F-4E46-AA93-E607B324FE2C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4.05.2017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E00931-F721-0948-9507-7FC58DF35D5A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660485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.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lIns="117226" tIns="58613" rIns="117226" bIns="58613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0DB45-381F-4E46-AA93-E607B324FE2C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4.05.2017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E00931-F721-0948-9507-7FC58DF35D5A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120644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. загол.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28600"/>
            <a:ext cx="2743200" cy="4876800"/>
          </a:xfrm>
          <a:prstGeom prst="rect">
            <a:avLst/>
          </a:prstGeom>
        </p:spPr>
        <p:txBody>
          <a:bodyPr vert="eaVert" lIns="117226" tIns="58613" rIns="117226" bIns="58613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28600"/>
            <a:ext cx="8026400" cy="4876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0DB45-381F-4E46-AA93-E607B324FE2C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4.05.2017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E00931-F721-0948-9507-7FC58DF35D5A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669845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1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2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F3D88-53C1-4E7D-B0C1-463D65E64921}" type="datetimeFigureOut">
              <a:rPr lang="ru-RU" smtClean="0"/>
              <a:t>24.05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13A4D2-8A83-4FEE-AC1A-A2EF400F5F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904084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F3D88-53C1-4E7D-B0C1-463D65E64921}" type="datetimeFigureOut">
              <a:rPr lang="ru-RU" smtClean="0"/>
              <a:t>24.05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13A4D2-8A83-4FEE-AC1A-A2EF400F5F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80814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2" indent="0">
              <a:buNone/>
              <a:defRPr sz="2100" b="1"/>
            </a:lvl2pPr>
            <a:lvl3pPr marL="914363" indent="0">
              <a:buNone/>
              <a:defRPr sz="1800" b="1"/>
            </a:lvl3pPr>
            <a:lvl4pPr marL="1371545" indent="0">
              <a:buNone/>
              <a:defRPr sz="1500" b="1"/>
            </a:lvl4pPr>
            <a:lvl5pPr marL="1828727" indent="0">
              <a:buNone/>
              <a:defRPr sz="1500" b="1"/>
            </a:lvl5pPr>
            <a:lvl6pPr marL="2285909" indent="0">
              <a:buNone/>
              <a:defRPr sz="1500" b="1"/>
            </a:lvl6pPr>
            <a:lvl7pPr marL="2743090" indent="0">
              <a:buNone/>
              <a:defRPr sz="1500" b="1"/>
            </a:lvl7pPr>
            <a:lvl8pPr marL="3200272" indent="0">
              <a:buNone/>
              <a:defRPr sz="1500" b="1"/>
            </a:lvl8pPr>
            <a:lvl9pPr marL="3657454" indent="0">
              <a:buNone/>
              <a:defRPr sz="15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6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2" indent="0">
              <a:buNone/>
              <a:defRPr sz="2100" b="1"/>
            </a:lvl2pPr>
            <a:lvl3pPr marL="914363" indent="0">
              <a:buNone/>
              <a:defRPr sz="1800" b="1"/>
            </a:lvl3pPr>
            <a:lvl4pPr marL="1371545" indent="0">
              <a:buNone/>
              <a:defRPr sz="1500" b="1"/>
            </a:lvl4pPr>
            <a:lvl5pPr marL="1828727" indent="0">
              <a:buNone/>
              <a:defRPr sz="1500" b="1"/>
            </a:lvl5pPr>
            <a:lvl6pPr marL="2285909" indent="0">
              <a:buNone/>
              <a:defRPr sz="1500" b="1"/>
            </a:lvl6pPr>
            <a:lvl7pPr marL="2743090" indent="0">
              <a:buNone/>
              <a:defRPr sz="1500" b="1"/>
            </a:lvl7pPr>
            <a:lvl8pPr marL="3200272" indent="0">
              <a:buNone/>
              <a:defRPr sz="1500" b="1"/>
            </a:lvl8pPr>
            <a:lvl9pPr marL="3657454" indent="0">
              <a:buNone/>
              <a:defRPr sz="15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1" y="2505076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F3D88-53C1-4E7D-B0C1-463D65E64921}" type="datetimeFigureOut">
              <a:rPr lang="ru-RU" smtClean="0"/>
              <a:t>24.05.2017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13A4D2-8A83-4FEE-AC1A-A2EF400F5F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533666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F3D88-53C1-4E7D-B0C1-463D65E64921}" type="datetimeFigureOut">
              <a:rPr lang="ru-RU" smtClean="0"/>
              <a:t>24.05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13A4D2-8A83-4FEE-AC1A-A2EF400F5F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087562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F3D88-53C1-4E7D-B0C1-463D65E64921}" type="datetimeFigureOut">
              <a:rPr lang="ru-RU" smtClean="0"/>
              <a:t>24.05.20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13A4D2-8A83-4FEE-AC1A-A2EF400F5F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07657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500"/>
            </a:lvl1pPr>
            <a:lvl2pPr marL="457182" indent="0">
              <a:buNone/>
              <a:defRPr sz="1400"/>
            </a:lvl2pPr>
            <a:lvl3pPr marL="914363" indent="0">
              <a:buNone/>
              <a:defRPr sz="1200"/>
            </a:lvl3pPr>
            <a:lvl4pPr marL="1371545" indent="0">
              <a:buNone/>
              <a:defRPr sz="1000"/>
            </a:lvl4pPr>
            <a:lvl5pPr marL="1828727" indent="0">
              <a:buNone/>
              <a:defRPr sz="1000"/>
            </a:lvl5pPr>
            <a:lvl6pPr marL="2285909" indent="0">
              <a:buNone/>
              <a:defRPr sz="1000"/>
            </a:lvl6pPr>
            <a:lvl7pPr marL="2743090" indent="0">
              <a:buNone/>
              <a:defRPr sz="1000"/>
            </a:lvl7pPr>
            <a:lvl8pPr marL="3200272" indent="0">
              <a:buNone/>
              <a:defRPr sz="1000"/>
            </a:lvl8pPr>
            <a:lvl9pPr marL="3657454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F3D88-53C1-4E7D-B0C1-463D65E64921}" type="datetimeFigureOut">
              <a:rPr lang="ru-RU" smtClean="0"/>
              <a:t>24.05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13A4D2-8A83-4FEE-AC1A-A2EF400F5F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696714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2" indent="0">
              <a:buNone/>
              <a:defRPr sz="2800"/>
            </a:lvl2pPr>
            <a:lvl3pPr marL="914363" indent="0">
              <a:buNone/>
              <a:defRPr sz="2400"/>
            </a:lvl3pPr>
            <a:lvl4pPr marL="1371545" indent="0">
              <a:buNone/>
              <a:defRPr sz="2100"/>
            </a:lvl4pPr>
            <a:lvl5pPr marL="1828727" indent="0">
              <a:buNone/>
              <a:defRPr sz="2100"/>
            </a:lvl5pPr>
            <a:lvl6pPr marL="2285909" indent="0">
              <a:buNone/>
              <a:defRPr sz="2100"/>
            </a:lvl6pPr>
            <a:lvl7pPr marL="2743090" indent="0">
              <a:buNone/>
              <a:defRPr sz="2100"/>
            </a:lvl7pPr>
            <a:lvl8pPr marL="3200272" indent="0">
              <a:buNone/>
              <a:defRPr sz="2100"/>
            </a:lvl8pPr>
            <a:lvl9pPr marL="3657454" indent="0">
              <a:buNone/>
              <a:defRPr sz="21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500"/>
            </a:lvl1pPr>
            <a:lvl2pPr marL="457182" indent="0">
              <a:buNone/>
              <a:defRPr sz="1400"/>
            </a:lvl2pPr>
            <a:lvl3pPr marL="914363" indent="0">
              <a:buNone/>
              <a:defRPr sz="1200"/>
            </a:lvl3pPr>
            <a:lvl4pPr marL="1371545" indent="0">
              <a:buNone/>
              <a:defRPr sz="1000"/>
            </a:lvl4pPr>
            <a:lvl5pPr marL="1828727" indent="0">
              <a:buNone/>
              <a:defRPr sz="1000"/>
            </a:lvl5pPr>
            <a:lvl6pPr marL="2285909" indent="0">
              <a:buNone/>
              <a:defRPr sz="1000"/>
            </a:lvl6pPr>
            <a:lvl7pPr marL="2743090" indent="0">
              <a:buNone/>
              <a:defRPr sz="1000"/>
            </a:lvl7pPr>
            <a:lvl8pPr marL="3200272" indent="0">
              <a:buNone/>
              <a:defRPr sz="1000"/>
            </a:lvl8pPr>
            <a:lvl9pPr marL="3657454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F3D88-53C1-4E7D-B0C1-463D65E64921}" type="datetimeFigureOut">
              <a:rPr lang="ru-RU" smtClean="0"/>
              <a:t>24.05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13A4D2-8A83-4FEE-AC1A-A2EF400F5F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404175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36" tIns="45719" rIns="91436" bIns="45719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36" tIns="45719" rIns="91436" bIns="45719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36" tIns="45719" rIns="91436" bIns="45719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F3F3D88-53C1-4E7D-B0C1-463D65E64921}" type="datetimeFigureOut">
              <a:rPr lang="ru-RU" smtClean="0"/>
              <a:t>24.05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36" tIns="45719" rIns="91436" bIns="45719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36" tIns="45719" rIns="91436" bIns="45719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613A4D2-8A83-4FEE-AC1A-A2EF400F5F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79822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363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1" indent="-228591" algn="l" defTabSz="91436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73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54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36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18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99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81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63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45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3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3"/>
          </a:xfrm>
          <a:prstGeom prst="rect">
            <a:avLst/>
          </a:prstGeom>
        </p:spPr>
        <p:txBody>
          <a:bodyPr vert="horz" lIns="117226" tIns="58613" rIns="117226" bIns="58613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117226" tIns="58613" rIns="117226" bIns="58613" rtlCol="0" anchor="ctr"/>
          <a:lstStyle>
            <a:lvl1pPr algn="l">
              <a:defRPr sz="1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86130"/>
            <a:fld id="{5080DB45-381F-4E46-AA93-E607B324FE2C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586130"/>
              <a:t>24.05.2017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 vert="horz" lIns="117226" tIns="58613" rIns="117226" bIns="58613" rtlCol="0" anchor="ctr"/>
          <a:lstStyle>
            <a:lvl1pPr algn="ctr">
              <a:defRPr sz="1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86130"/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 vert="horz" lIns="117226" tIns="58613" rIns="117226" bIns="58613" rtlCol="0" anchor="ctr"/>
          <a:lstStyle>
            <a:lvl1pPr algn="r">
              <a:defRPr sz="1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86130"/>
            <a:fld id="{D8E00931-F721-0948-9507-7FC58DF35D5A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58613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41497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ctr" defTabSz="586130" rtl="0" eaLnBrk="1" latinLnBrk="0" hangingPunct="1">
        <a:spcBef>
          <a:spcPct val="0"/>
        </a:spcBef>
        <a:buNone/>
        <a:defRPr sz="4100" b="0" kern="1200">
          <a:solidFill>
            <a:schemeClr val="tx1"/>
          </a:solidFill>
          <a:latin typeface="Gotham Pro Medium"/>
          <a:ea typeface="+mj-ea"/>
          <a:cs typeface="Gotham Pro Medium"/>
        </a:defRPr>
      </a:lvl1pPr>
    </p:titleStyle>
    <p:bodyStyle>
      <a:lvl1pPr marL="439598" indent="-439598" algn="l" defTabSz="58613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Gotham Pro"/>
          <a:ea typeface="+mn-ea"/>
          <a:cs typeface="Gotham Pro"/>
        </a:defRPr>
      </a:lvl1pPr>
      <a:lvl2pPr marL="952462" indent="-366332" algn="l" defTabSz="586130" rtl="0" eaLnBrk="1" latinLnBrk="0" hangingPunct="1">
        <a:spcBef>
          <a:spcPct val="20000"/>
        </a:spcBef>
        <a:buFont typeface="Arial"/>
        <a:buChar char="–"/>
        <a:defRPr sz="2300" kern="1200">
          <a:solidFill>
            <a:schemeClr val="tx1"/>
          </a:solidFill>
          <a:latin typeface="Gotham Pro"/>
          <a:ea typeface="+mn-ea"/>
          <a:cs typeface="Gotham Pro"/>
        </a:defRPr>
      </a:lvl2pPr>
      <a:lvl3pPr marL="1465326" indent="-293065" algn="l" defTabSz="586130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Gotham Pro"/>
          <a:ea typeface="+mn-ea"/>
          <a:cs typeface="Gotham Pro"/>
        </a:defRPr>
      </a:lvl3pPr>
      <a:lvl4pPr marL="2051456" indent="-293065" algn="l" defTabSz="586130" rtl="0" eaLnBrk="1" latinLnBrk="0" hangingPunct="1">
        <a:spcBef>
          <a:spcPct val="20000"/>
        </a:spcBef>
        <a:buFont typeface="Arial"/>
        <a:buChar char="–"/>
        <a:defRPr sz="1800" kern="1200">
          <a:solidFill>
            <a:schemeClr val="tx1"/>
          </a:solidFill>
          <a:latin typeface="Gotham Pro"/>
          <a:ea typeface="+mn-ea"/>
          <a:cs typeface="Gotham Pro"/>
        </a:defRPr>
      </a:lvl4pPr>
      <a:lvl5pPr marL="2637587" indent="-293065" algn="l" defTabSz="586130" rtl="0" eaLnBrk="1" latinLnBrk="0" hangingPunct="1">
        <a:spcBef>
          <a:spcPct val="20000"/>
        </a:spcBef>
        <a:buFont typeface="Arial"/>
        <a:buChar char="»"/>
        <a:defRPr sz="1800" kern="1200">
          <a:solidFill>
            <a:schemeClr val="tx1"/>
          </a:solidFill>
          <a:latin typeface="Gotham Pro"/>
          <a:ea typeface="+mn-ea"/>
          <a:cs typeface="Gotham Pro"/>
        </a:defRPr>
      </a:lvl5pPr>
      <a:lvl6pPr marL="3223717" indent="-293065" algn="l" defTabSz="58613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09848" indent="-293065" algn="l" defTabSz="58613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95978" indent="-293065" algn="l" defTabSz="58613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82108" indent="-293065" algn="l" defTabSz="58613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58613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586130" algn="l" defTabSz="58613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172261" algn="l" defTabSz="58613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758391" algn="l" defTabSz="58613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44522" algn="l" defTabSz="58613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930652" algn="l" defTabSz="58613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516782" algn="l" defTabSz="58613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102913" algn="l" defTabSz="58613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689043" algn="l" defTabSz="58613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.xml"/><Relationship Id="rId6" Type="http://schemas.openxmlformats.org/officeDocument/2006/relationships/image" Target="../media/image11.png"/><Relationship Id="rId5" Type="http://schemas.openxmlformats.org/officeDocument/2006/relationships/chart" Target="../charts/chart5.xml"/><Relationship Id="rId10" Type="http://schemas.openxmlformats.org/officeDocument/2006/relationships/image" Target="../media/image18.png"/><Relationship Id="rId4" Type="http://schemas.openxmlformats.org/officeDocument/2006/relationships/chart" Target="../charts/chart4.xml"/><Relationship Id="rId9" Type="http://schemas.openxmlformats.org/officeDocument/2006/relationships/image" Target="../media/image17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emf"/><Relationship Id="rId3" Type="http://schemas.openxmlformats.org/officeDocument/2006/relationships/image" Target="../media/image20.emf"/><Relationship Id="rId7" Type="http://schemas.openxmlformats.org/officeDocument/2006/relationships/image" Target="../media/image24.emf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3.png"/><Relationship Id="rId11" Type="http://schemas.openxmlformats.org/officeDocument/2006/relationships/image" Target="../media/image28.emf"/><Relationship Id="rId5" Type="http://schemas.openxmlformats.org/officeDocument/2006/relationships/image" Target="../media/image22.emf"/><Relationship Id="rId10" Type="http://schemas.openxmlformats.org/officeDocument/2006/relationships/image" Target="../media/image27.emf"/><Relationship Id="rId4" Type="http://schemas.openxmlformats.org/officeDocument/2006/relationships/image" Target="../media/image21.png"/><Relationship Id="rId9" Type="http://schemas.openxmlformats.org/officeDocument/2006/relationships/image" Target="../media/image26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image" Target="../media/image26.emf"/><Relationship Id="rId7" Type="http://schemas.openxmlformats.org/officeDocument/2006/relationships/image" Target="../media/image17.emf"/><Relationship Id="rId12" Type="http://schemas.openxmlformats.org/officeDocument/2006/relationships/image" Target="../media/image33.pn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0.png"/><Relationship Id="rId11" Type="http://schemas.openxmlformats.org/officeDocument/2006/relationships/image" Target="../media/image32.png"/><Relationship Id="rId5" Type="http://schemas.openxmlformats.org/officeDocument/2006/relationships/image" Target="../media/image28.emf"/><Relationship Id="rId10" Type="http://schemas.openxmlformats.org/officeDocument/2006/relationships/image" Target="../media/image31.png"/><Relationship Id="rId4" Type="http://schemas.openxmlformats.org/officeDocument/2006/relationships/image" Target="../media/image27.emf"/><Relationship Id="rId9" Type="http://schemas.openxmlformats.org/officeDocument/2006/relationships/image" Target="../media/image18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7.emf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7.emf"/><Relationship Id="rId5" Type="http://schemas.openxmlformats.org/officeDocument/2006/relationships/chart" Target="../charts/chart1.xml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image" Target="../media/image8.jpe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chart" Target="../charts/char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4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95000"/>
            <a:lumOff val="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Изображение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694544"/>
            <a:ext cx="7337542" cy="5163455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9670118" y="0"/>
            <a:ext cx="1791507" cy="172479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Заголовок 1"/>
          <p:cNvSpPr txBox="1">
            <a:spLocks/>
          </p:cNvSpPr>
          <p:nvPr/>
        </p:nvSpPr>
        <p:spPr>
          <a:xfrm>
            <a:off x="1254381" y="1617239"/>
            <a:ext cx="9877360" cy="4067375"/>
          </a:xfrm>
          <a:prstGeom prst="rect">
            <a:avLst/>
          </a:prstGeom>
          <a:ln>
            <a:noFill/>
          </a:ln>
        </p:spPr>
        <p:txBody>
          <a:bodyPr vert="horz" lIns="91436" tIns="45719" rIns="91436" bIns="45719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ru-RU" sz="8800" b="1" dirty="0">
                <a:solidFill>
                  <a:prstClr val="white"/>
                </a:solidFill>
                <a:latin typeface="Arial"/>
                <a:cs typeface="Arial"/>
              </a:rPr>
              <a:t>ТРИГГЕРНАЯ</a:t>
            </a:r>
            <a:r>
              <a:rPr lang="en-US" sz="8800" b="1" dirty="0">
                <a:solidFill>
                  <a:prstClr val="white"/>
                </a:solidFill>
                <a:latin typeface="Arial"/>
                <a:cs typeface="Arial"/>
              </a:rPr>
              <a:t/>
            </a:r>
            <a:br>
              <a:rPr lang="en-US" sz="8800" b="1" dirty="0">
                <a:solidFill>
                  <a:prstClr val="white"/>
                </a:solidFill>
                <a:latin typeface="Arial"/>
                <a:cs typeface="Arial"/>
              </a:rPr>
            </a:br>
            <a:r>
              <a:rPr lang="ru-RU" sz="8800" b="1" dirty="0">
                <a:solidFill>
                  <a:prstClr val="white"/>
                </a:solidFill>
                <a:latin typeface="Arial"/>
                <a:cs typeface="Arial"/>
              </a:rPr>
              <a:t>ПЛАТФОРМА</a:t>
            </a:r>
            <a:r>
              <a:rPr lang="en-US" sz="8800" b="1" dirty="0">
                <a:solidFill>
                  <a:prstClr val="white"/>
                </a:solidFill>
                <a:latin typeface="Arial"/>
                <a:cs typeface="Arial"/>
              </a:rPr>
              <a:t> </a:t>
            </a:r>
            <a:br>
              <a:rPr lang="en-US" sz="8800" b="1" dirty="0">
                <a:solidFill>
                  <a:prstClr val="white"/>
                </a:solidFill>
                <a:latin typeface="Arial"/>
                <a:cs typeface="Arial"/>
              </a:rPr>
            </a:br>
            <a:r>
              <a:rPr lang="en-US" sz="8800" b="1" dirty="0" smtClean="0">
                <a:solidFill>
                  <a:prstClr val="white"/>
                </a:solidFill>
                <a:latin typeface="Arial"/>
                <a:cs typeface="Arial"/>
              </a:rPr>
              <a:t>MAIL.RU</a:t>
            </a:r>
            <a:r>
              <a:rPr lang="ru-RU" sz="8800" b="1" dirty="0" smtClean="0">
                <a:solidFill>
                  <a:prstClr val="white"/>
                </a:solidFill>
                <a:latin typeface="Arial"/>
                <a:cs typeface="Arial"/>
              </a:rPr>
              <a:t> </a:t>
            </a:r>
            <a:r>
              <a:rPr lang="en-US" sz="8800" b="1" dirty="0" smtClean="0">
                <a:solidFill>
                  <a:prstClr val="white"/>
                </a:solidFill>
                <a:latin typeface="Arial"/>
                <a:cs typeface="Arial"/>
              </a:rPr>
              <a:t>GROUP</a:t>
            </a:r>
            <a:endParaRPr lang="ru-RU" sz="8800" b="1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pic>
        <p:nvPicPr>
          <p:cNvPr id="6" name="Изображение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22934" y="676432"/>
            <a:ext cx="1434235" cy="445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570885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5984321" y="1"/>
            <a:ext cx="6207679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рямоугольник 25"/>
          <p:cNvSpPr/>
          <p:nvPr/>
        </p:nvSpPr>
        <p:spPr>
          <a:xfrm>
            <a:off x="5923280" y="6374736"/>
            <a:ext cx="6273799" cy="461663"/>
          </a:xfrm>
          <a:prstGeom prst="rect">
            <a:avLst/>
          </a:prstGeom>
        </p:spPr>
        <p:txBody>
          <a:bodyPr wrap="square" lIns="91436" tIns="45719" rIns="91436" bIns="45719">
            <a:spAutoFit/>
          </a:bodyPr>
          <a:lstStyle/>
          <a:p>
            <a:pPr algn="r"/>
            <a:r>
              <a:rPr lang="ru-RU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основу расчета данных по лекарственным препаратам взята статистика по продаже по пачкам,</a:t>
            </a:r>
            <a:r>
              <a:rPr lang="en-US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рост продаж и значения индекса рассчитаны по отношению к первой исследуемой дате – 5 декабря. Источники данных: триггерная платформа </a:t>
            </a:r>
            <a:r>
              <a:rPr lang="en-US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l.Ru </a:t>
            </a:r>
            <a:r>
              <a:rPr lang="ru-RU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en-US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ntilesIMS</a:t>
            </a:r>
            <a:r>
              <a:rPr lang="ru-RU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Челябинск + обл., Красноярск + обл., Москва + обл., Самара + обл., Татарстан, </a:t>
            </a:r>
            <a:r>
              <a:rPr lang="ru-RU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дмуртия)   </a:t>
            </a:r>
            <a:endParaRPr lang="ru-RU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10742" y="2485360"/>
            <a:ext cx="44830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rgbClr val="208CEE"/>
              </a:buClr>
              <a:buSzPct val="140000"/>
            </a:pPr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Arial"/>
              </a:rPr>
              <a:t>Корреляция </a:t>
            </a:r>
            <a:r>
              <a:rPr lang="ru-RU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Arial"/>
              </a:rPr>
              <a:t>в</a:t>
            </a:r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Arial"/>
              </a:rPr>
              <a:t> 59 регионах </a:t>
            </a:r>
            <a:r>
              <a:rPr lang="en-US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Arial"/>
              </a:rPr>
              <a:t>&gt;</a:t>
            </a:r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Arial"/>
              </a:rPr>
              <a:t> 0,6</a:t>
            </a:r>
          </a:p>
          <a:p>
            <a:pPr algn="ctr">
              <a:buClr>
                <a:srgbClr val="208CEE"/>
              </a:buClr>
              <a:buSzPct val="140000"/>
            </a:pPr>
            <a:r>
              <a:rPr lang="en-US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Arial"/>
              </a:rPr>
              <a:t>82 </a:t>
            </a:r>
            <a:r>
              <a:rPr lang="ru-RU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Arial"/>
              </a:rPr>
              <a:t>региона каждый </a:t>
            </a:r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Arial"/>
              </a:rPr>
              <a:t>день весь сезон</a:t>
            </a:r>
            <a:endParaRPr lang="ru-RU" b="1" dirty="0">
              <a:solidFill>
                <a:schemeClr val="tx1">
                  <a:lumMod val="95000"/>
                  <a:lumOff val="5000"/>
                </a:schemeClr>
              </a:solidFill>
              <a:latin typeface="Arial"/>
              <a:cs typeface="Arial"/>
            </a:endParaRPr>
          </a:p>
        </p:txBody>
      </p:sp>
      <p:graphicFrame>
        <p:nvGraphicFramePr>
          <p:cNvPr id="9" name="Объект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82271670"/>
              </p:ext>
            </p:extLst>
          </p:nvPr>
        </p:nvGraphicFramePr>
        <p:xfrm>
          <a:off x="231036" y="3759200"/>
          <a:ext cx="5665787" cy="23774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Object 110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4115044"/>
              </p:ext>
            </p:extLst>
          </p:nvPr>
        </p:nvGraphicFramePr>
        <p:xfrm>
          <a:off x="6439911" y="4377231"/>
          <a:ext cx="5689601" cy="23352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pic>
        <p:nvPicPr>
          <p:cNvPr id="13" name="Picture 4" descr="http://www.influenza.spb.ru/i/logo/logonew-rus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540000">
            <a:off x="2659318" y="1130616"/>
            <a:ext cx="585898" cy="590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6479847" y="2031500"/>
            <a:ext cx="508491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rgbClr val="208CEE"/>
              </a:buClr>
              <a:buSzPct val="140000"/>
            </a:pPr>
            <a:r>
              <a:rPr lang="ru-RU" b="1" dirty="0" smtClean="0">
                <a:solidFill>
                  <a:schemeClr val="bg1"/>
                </a:solidFill>
                <a:latin typeface="Arial"/>
                <a:cs typeface="Arial"/>
              </a:rPr>
              <a:t>Корреляция с продажами препаратов </a:t>
            </a:r>
          </a:p>
          <a:p>
            <a:pPr algn="ctr">
              <a:buClr>
                <a:srgbClr val="208CEE"/>
              </a:buClr>
              <a:buSzPct val="140000"/>
            </a:pPr>
            <a:r>
              <a:rPr lang="ru-RU" b="1" dirty="0" smtClean="0">
                <a:solidFill>
                  <a:schemeClr val="bg1"/>
                </a:solidFill>
                <a:latin typeface="Arial"/>
                <a:cs typeface="Arial"/>
              </a:rPr>
              <a:t>для 6 выбранных регионов</a:t>
            </a:r>
            <a:endParaRPr lang="ru-RU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675119" y="5887520"/>
            <a:ext cx="115586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лябинск + обл.</a:t>
            </a:r>
            <a:endParaRPr lang="ru-RU" sz="9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7876706" y="1059405"/>
            <a:ext cx="2308954" cy="73289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Picture 2" descr="ims logo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4637" y="1177933"/>
            <a:ext cx="2073092" cy="4958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Название 1"/>
          <p:cNvSpPr txBox="1">
            <a:spLocks/>
          </p:cNvSpPr>
          <p:nvPr/>
        </p:nvSpPr>
        <p:spPr>
          <a:xfrm>
            <a:off x="2271263" y="352369"/>
            <a:ext cx="8357079" cy="552869"/>
          </a:xfrm>
          <a:prstGeom prst="rect">
            <a:avLst/>
          </a:prstGeom>
        </p:spPr>
        <p:txBody>
          <a:bodyPr lIns="117226" tIns="58613" rIns="117226" bIns="58613"/>
          <a:lstStyle>
            <a:lvl1pPr algn="ctr" defTabSz="586130" rtl="0" eaLnBrk="1" latinLnBrk="0" hangingPunct="1">
              <a:spcBef>
                <a:spcPct val="0"/>
              </a:spcBef>
              <a:buNone/>
              <a:defRPr sz="3600" b="0" kern="1200">
                <a:solidFill>
                  <a:srgbClr val="23A0F2"/>
                </a:solidFill>
                <a:latin typeface="Gotham Pro Medium"/>
                <a:ea typeface="+mj-ea"/>
                <a:cs typeface="Gotham Pro Medium"/>
              </a:defRPr>
            </a:lvl1pPr>
          </a:lstStyle>
          <a:p>
            <a:r>
              <a:rPr lang="ru-RU" sz="2400" b="1" dirty="0">
                <a:solidFill>
                  <a:schemeClr val="tx1"/>
                </a:solidFill>
                <a:latin typeface="Arial"/>
                <a:cs typeface="Arial"/>
              </a:rPr>
              <a:t>ПРОШЕДШИЙ </a:t>
            </a:r>
            <a:r>
              <a:rPr lang="ru-RU" sz="2400" b="1" dirty="0" smtClean="0">
                <a:solidFill>
                  <a:schemeClr val="tx1"/>
                </a:solidFill>
                <a:latin typeface="Arial"/>
                <a:cs typeface="Arial"/>
              </a:rPr>
              <a:t>СЕЗОН – </a:t>
            </a:r>
            <a:r>
              <a:rPr lang="ru-RU" sz="2400" b="1" dirty="0" smtClean="0">
                <a:solidFill>
                  <a:schemeClr val="bg1"/>
                </a:solidFill>
                <a:latin typeface="Arial"/>
                <a:cs typeface="Arial"/>
              </a:rPr>
              <a:t>ДОКАЗАННАЯ </a:t>
            </a:r>
            <a:r>
              <a:rPr lang="ru-RU" sz="2400" b="1" dirty="0">
                <a:solidFill>
                  <a:schemeClr val="bg1"/>
                </a:solidFill>
                <a:latin typeface="Arial"/>
                <a:cs typeface="Arial"/>
              </a:rPr>
              <a:t>КОРРЕЛЯЦИЯ 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2022627" y="1689296"/>
            <a:ext cx="18592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Arial"/>
              </a:rPr>
              <a:t>НИИ Гриппа</a:t>
            </a:r>
          </a:p>
        </p:txBody>
      </p:sp>
      <p:grpSp>
        <p:nvGrpSpPr>
          <p:cNvPr id="25" name="Группа 24"/>
          <p:cNvGrpSpPr/>
          <p:nvPr/>
        </p:nvGrpSpPr>
        <p:grpSpPr>
          <a:xfrm>
            <a:off x="8773933" y="2861778"/>
            <a:ext cx="1026148" cy="1436719"/>
            <a:chOff x="8607204" y="2861778"/>
            <a:chExt cx="1026148" cy="1436719"/>
          </a:xfrm>
        </p:grpSpPr>
        <p:pic>
          <p:nvPicPr>
            <p:cNvPr id="11" name="Изображение 10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607204" y="2861778"/>
              <a:ext cx="1026148" cy="916063"/>
            </a:xfrm>
            <a:prstGeom prst="rect">
              <a:avLst/>
            </a:prstGeom>
          </p:spPr>
        </p:pic>
        <p:sp>
          <p:nvSpPr>
            <p:cNvPr id="18" name="TextBox 17"/>
            <p:cNvSpPr txBox="1"/>
            <p:nvPr/>
          </p:nvSpPr>
          <p:spPr>
            <a:xfrm>
              <a:off x="8654149" y="3836832"/>
              <a:ext cx="93225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 smtClean="0">
                  <a:solidFill>
                    <a:schemeClr val="bg1"/>
                  </a:solidFill>
                  <a:latin typeface="Arial"/>
                  <a:cs typeface="Arial"/>
                </a:rPr>
                <a:t>0.84</a:t>
              </a:r>
              <a:endParaRPr lang="ru-RU" sz="2400" b="1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24" name="Группа 23"/>
          <p:cNvGrpSpPr/>
          <p:nvPr/>
        </p:nvGrpSpPr>
        <p:grpSpPr>
          <a:xfrm>
            <a:off x="7137712" y="2876275"/>
            <a:ext cx="993669" cy="1422222"/>
            <a:chOff x="6954832" y="2876275"/>
            <a:chExt cx="993669" cy="1422222"/>
          </a:xfrm>
        </p:grpSpPr>
        <p:pic>
          <p:nvPicPr>
            <p:cNvPr id="14" name="Изображение 13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954832" y="2876275"/>
              <a:ext cx="993669" cy="887069"/>
            </a:xfrm>
            <a:prstGeom prst="rect">
              <a:avLst/>
            </a:prstGeom>
          </p:spPr>
        </p:pic>
        <p:sp>
          <p:nvSpPr>
            <p:cNvPr id="22" name="TextBox 21"/>
            <p:cNvSpPr txBox="1"/>
            <p:nvPr/>
          </p:nvSpPr>
          <p:spPr>
            <a:xfrm>
              <a:off x="6985537" y="3836832"/>
              <a:ext cx="93225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 smtClean="0">
                  <a:solidFill>
                    <a:schemeClr val="bg1"/>
                  </a:solidFill>
                  <a:latin typeface="Arial"/>
                  <a:cs typeface="Arial"/>
                </a:rPr>
                <a:t>0.9</a:t>
              </a:r>
              <a:endParaRPr lang="ru-RU" sz="2400" b="1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7" name="Группа 6"/>
          <p:cNvGrpSpPr/>
          <p:nvPr/>
        </p:nvGrpSpPr>
        <p:grpSpPr>
          <a:xfrm>
            <a:off x="10442633" y="2842912"/>
            <a:ext cx="1029303" cy="1455585"/>
            <a:chOff x="10259753" y="2842912"/>
            <a:chExt cx="1029303" cy="1455585"/>
          </a:xfrm>
        </p:grpSpPr>
        <p:sp>
          <p:nvSpPr>
            <p:cNvPr id="6" name="TextBox 5"/>
            <p:cNvSpPr txBox="1"/>
            <p:nvPr/>
          </p:nvSpPr>
          <p:spPr>
            <a:xfrm>
              <a:off x="10443384" y="3836832"/>
              <a:ext cx="66204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dirty="0" smtClean="0">
                  <a:solidFill>
                    <a:schemeClr val="bg1"/>
                  </a:solidFill>
                  <a:latin typeface="Arial"/>
                  <a:cs typeface="Arial"/>
                </a:rPr>
                <a:t>0.8</a:t>
              </a:r>
              <a:endParaRPr lang="ru-RU" sz="2400" b="1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59753" y="2842912"/>
              <a:ext cx="1029303" cy="91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55189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2" descr="felix-russell-saw-182331.jpg"/>
          <p:cNvPicPr>
            <a:picLocks noChangeAspect="1"/>
          </p:cNvPicPr>
          <p:nvPr/>
        </p:nvPicPr>
        <p:blipFill rotWithShape="1">
          <a:blip r:embed="rId2" cstate="print">
            <a:alphaModFix amt="5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9" t="7293" r="-519" b="8758"/>
          <a:stretch/>
        </p:blipFill>
        <p:spPr>
          <a:xfrm>
            <a:off x="-1" y="0"/>
            <a:ext cx="12255599" cy="68580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538554" y="2922770"/>
            <a:ext cx="1480596" cy="338552"/>
          </a:xfrm>
          <a:prstGeom prst="rect">
            <a:avLst/>
          </a:prstGeom>
          <a:noFill/>
        </p:spPr>
        <p:txBody>
          <a:bodyPr wrap="square" lIns="91436" tIns="45719" rIns="91436" bIns="45719" rtlCol="0">
            <a:spAutoFit/>
          </a:bodyPr>
          <a:lstStyle/>
          <a:p>
            <a:r>
              <a:rPr lang="ru-RU" sz="1600" b="1" dirty="0" smtClean="0">
                <a:solidFill>
                  <a:srgbClr val="00DE04"/>
                </a:solidFill>
                <a:latin typeface="Arial"/>
                <a:cs typeface="Arial"/>
              </a:rPr>
              <a:t>НАСТРОЙКИ</a:t>
            </a:r>
            <a:endParaRPr lang="ru-RU" sz="1600" b="1" dirty="0">
              <a:solidFill>
                <a:srgbClr val="00DE04"/>
              </a:solidFill>
              <a:latin typeface="Arial"/>
              <a:cs typeface="Arial"/>
            </a:endParaRPr>
          </a:p>
        </p:txBody>
      </p:sp>
      <p:pic>
        <p:nvPicPr>
          <p:cNvPr id="9" name="Изображение 22"/>
          <p:cNvPicPr>
            <a:picLocks noChangeAspect="1"/>
          </p:cNvPicPr>
          <p:nvPr/>
        </p:nvPicPr>
        <p:blipFill>
          <a:blip r:embed="rId3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453549" y="1010008"/>
            <a:ext cx="470480" cy="804771"/>
          </a:xfrm>
          <a:prstGeom prst="rect">
            <a:avLst/>
          </a:prstGeom>
        </p:spPr>
      </p:pic>
      <p:pic>
        <p:nvPicPr>
          <p:cNvPr id="10" name="Изображение 2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114" y="799589"/>
            <a:ext cx="1273053" cy="1273053"/>
          </a:xfrm>
          <a:prstGeom prst="rect">
            <a:avLst/>
          </a:prstGeom>
        </p:spPr>
      </p:pic>
      <p:pic>
        <p:nvPicPr>
          <p:cNvPr id="11" name="Изображение 24"/>
          <p:cNvPicPr>
            <a:picLocks noChangeAspect="1"/>
          </p:cNvPicPr>
          <p:nvPr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2114" y="1257745"/>
            <a:ext cx="2149671" cy="447082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1538554" y="4758009"/>
            <a:ext cx="1480594" cy="338552"/>
          </a:xfrm>
          <a:prstGeom prst="rect">
            <a:avLst/>
          </a:prstGeom>
          <a:noFill/>
        </p:spPr>
        <p:txBody>
          <a:bodyPr wrap="square" lIns="91436" tIns="45719" rIns="91436" bIns="45719" rtlCol="0">
            <a:spAutoFit/>
          </a:bodyPr>
          <a:lstStyle/>
          <a:p>
            <a:r>
              <a:rPr lang="ru-RU" sz="1600" b="1" dirty="0" smtClean="0">
                <a:solidFill>
                  <a:srgbClr val="00DE04"/>
                </a:solidFill>
                <a:latin typeface="Arial"/>
                <a:cs typeface="Arial"/>
              </a:rPr>
              <a:t>ФОРМАТЫ</a:t>
            </a:r>
            <a:endParaRPr lang="ru-RU" sz="1600" b="1" dirty="0">
              <a:solidFill>
                <a:srgbClr val="00DE04"/>
              </a:solidFill>
              <a:latin typeface="Arial"/>
              <a:cs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395363" y="3379656"/>
            <a:ext cx="755051" cy="276997"/>
          </a:xfrm>
          <a:prstGeom prst="rect">
            <a:avLst/>
          </a:prstGeom>
          <a:noFill/>
        </p:spPr>
        <p:txBody>
          <a:bodyPr wrap="none" lIns="91436" tIns="45719" rIns="91436" bIns="45719" rtlCol="0">
            <a:spAutoFit/>
          </a:bodyPr>
          <a:lstStyle/>
          <a:p>
            <a:r>
              <a:rPr lang="ru-RU" sz="1200" dirty="0">
                <a:solidFill>
                  <a:srgbClr val="00DE04"/>
                </a:solidFill>
                <a:latin typeface="Arial"/>
                <a:cs typeface="Arial"/>
              </a:rPr>
              <a:t>Частота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200915" y="3379656"/>
            <a:ext cx="952070" cy="276997"/>
          </a:xfrm>
          <a:prstGeom prst="rect">
            <a:avLst/>
          </a:prstGeom>
          <a:noFill/>
        </p:spPr>
        <p:txBody>
          <a:bodyPr wrap="none" lIns="91436" tIns="45719" rIns="91436" bIns="45719" rtlCol="0">
            <a:spAutoFit/>
          </a:bodyPr>
          <a:lstStyle/>
          <a:p>
            <a:r>
              <a:rPr lang="ru-RU" sz="1200" dirty="0">
                <a:solidFill>
                  <a:srgbClr val="00DE04"/>
                </a:solidFill>
                <a:latin typeface="Arial"/>
                <a:cs typeface="Arial"/>
              </a:rPr>
              <a:t>География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342115" y="3379656"/>
            <a:ext cx="1089052" cy="276997"/>
          </a:xfrm>
          <a:prstGeom prst="rect">
            <a:avLst/>
          </a:prstGeom>
          <a:noFill/>
        </p:spPr>
        <p:txBody>
          <a:bodyPr wrap="none" lIns="91436" tIns="45719" rIns="91436" bIns="45719" rtlCol="0">
            <a:spAutoFit/>
          </a:bodyPr>
          <a:lstStyle/>
          <a:p>
            <a:r>
              <a:rPr lang="ru-RU" sz="1200" dirty="0">
                <a:solidFill>
                  <a:srgbClr val="00DE04"/>
                </a:solidFill>
                <a:latin typeface="Arial"/>
                <a:cs typeface="Arial"/>
              </a:rPr>
              <a:t>Демография</a:t>
            </a:r>
          </a:p>
        </p:txBody>
      </p:sp>
      <p:pic>
        <p:nvPicPr>
          <p:cNvPr id="16" name="Изображение 29" descr="group.png"/>
          <p:cNvPicPr>
            <a:picLocks noChangeAspect="1"/>
          </p:cNvPicPr>
          <p:nvPr/>
        </p:nvPicPr>
        <p:blipFill>
          <a:blip r:embed="rId6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3009" y="2575767"/>
            <a:ext cx="567264" cy="563482"/>
          </a:xfrm>
          <a:prstGeom prst="rect">
            <a:avLst/>
          </a:prstGeom>
        </p:spPr>
      </p:pic>
      <p:pic>
        <p:nvPicPr>
          <p:cNvPr id="20" name="Изображение 34"/>
          <p:cNvPicPr>
            <a:picLocks noChangeAspect="1"/>
          </p:cNvPicPr>
          <p:nvPr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1179" y="2591737"/>
            <a:ext cx="531543" cy="531543"/>
          </a:xfrm>
          <a:prstGeom prst="rect">
            <a:avLst/>
          </a:prstGeom>
        </p:spPr>
      </p:pic>
      <p:pic>
        <p:nvPicPr>
          <p:cNvPr id="21" name="Изображение 35"/>
          <p:cNvPicPr>
            <a:picLocks noChangeAspect="1"/>
          </p:cNvPicPr>
          <p:nvPr/>
        </p:nvPicPr>
        <p:blipFill>
          <a:blip r:embed="rId8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2874" y="2704458"/>
            <a:ext cx="640028" cy="306100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4362363" y="5052780"/>
            <a:ext cx="821051" cy="276997"/>
          </a:xfrm>
          <a:prstGeom prst="rect">
            <a:avLst/>
          </a:prstGeom>
          <a:noFill/>
        </p:spPr>
        <p:txBody>
          <a:bodyPr wrap="none" lIns="91436" tIns="45719" rIns="91436" bIns="45719" rtlCol="0">
            <a:spAutoFit/>
          </a:bodyPr>
          <a:lstStyle/>
          <a:p>
            <a:pPr algn="ctr"/>
            <a:r>
              <a:rPr lang="ru-RU" sz="1200" dirty="0" smtClean="0">
                <a:solidFill>
                  <a:srgbClr val="00DE04"/>
                </a:solidFill>
                <a:latin typeface="Arial"/>
                <a:cs typeface="Arial"/>
              </a:rPr>
              <a:t>Баннеры</a:t>
            </a:r>
            <a:endParaRPr lang="ru-RU" sz="1200" dirty="0">
              <a:solidFill>
                <a:srgbClr val="00DE04"/>
              </a:solidFill>
              <a:latin typeface="Arial"/>
              <a:cs typeface="Arial"/>
            </a:endParaRPr>
          </a:p>
        </p:txBody>
      </p:sp>
      <p:pic>
        <p:nvPicPr>
          <p:cNvPr id="19" name="Изображение 33"/>
          <p:cNvPicPr>
            <a:picLocks noChangeAspect="1"/>
          </p:cNvPicPr>
          <p:nvPr/>
        </p:nvPicPr>
        <p:blipFill>
          <a:blip r:embed="rId9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9643" y="4242926"/>
            <a:ext cx="746490" cy="504000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6110132" y="5052780"/>
            <a:ext cx="1133636" cy="276997"/>
          </a:xfrm>
          <a:prstGeom prst="rect">
            <a:avLst/>
          </a:prstGeom>
          <a:noFill/>
        </p:spPr>
        <p:txBody>
          <a:bodyPr wrap="none" lIns="91436" tIns="45719" rIns="91436" bIns="45719" rtlCol="0">
            <a:spAutoFit/>
          </a:bodyPr>
          <a:lstStyle/>
          <a:p>
            <a:r>
              <a:rPr lang="ru-RU" sz="1200" dirty="0" smtClean="0">
                <a:solidFill>
                  <a:srgbClr val="00DE04"/>
                </a:solidFill>
                <a:latin typeface="Arial"/>
                <a:cs typeface="Arial"/>
              </a:rPr>
              <a:t>Промо-посты</a:t>
            </a:r>
            <a:endParaRPr lang="ru-RU" sz="1200" dirty="0">
              <a:solidFill>
                <a:srgbClr val="00DE04"/>
              </a:solidFill>
              <a:latin typeface="Arial"/>
              <a:cs typeface="Arial"/>
            </a:endParaRPr>
          </a:p>
        </p:txBody>
      </p:sp>
      <p:pic>
        <p:nvPicPr>
          <p:cNvPr id="18" name="Изображение 31"/>
          <p:cNvPicPr>
            <a:picLocks noChangeAspect="1"/>
          </p:cNvPicPr>
          <p:nvPr/>
        </p:nvPicPr>
        <p:blipFill>
          <a:blip r:embed="rId10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3166" y="4242926"/>
            <a:ext cx="567569" cy="504000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8400070" y="5037100"/>
            <a:ext cx="973143" cy="276997"/>
          </a:xfrm>
          <a:prstGeom prst="rect">
            <a:avLst/>
          </a:prstGeom>
          <a:noFill/>
        </p:spPr>
        <p:txBody>
          <a:bodyPr wrap="none" lIns="91436" tIns="45719" rIns="91436" bIns="45719" rtlCol="0">
            <a:spAutoFit/>
          </a:bodyPr>
          <a:lstStyle/>
          <a:p>
            <a:r>
              <a:rPr lang="ru-RU" sz="1200" dirty="0" smtClean="0">
                <a:solidFill>
                  <a:srgbClr val="00DE04"/>
                </a:solidFill>
                <a:latin typeface="Arial"/>
                <a:cs typeface="Arial"/>
              </a:rPr>
              <a:t>Пре-роллы</a:t>
            </a:r>
            <a:endParaRPr lang="ru-RU" sz="1200" dirty="0">
              <a:solidFill>
                <a:srgbClr val="00DE04"/>
              </a:solidFill>
              <a:latin typeface="Arial"/>
              <a:cs typeface="Arial"/>
            </a:endParaRPr>
          </a:p>
        </p:txBody>
      </p:sp>
      <p:pic>
        <p:nvPicPr>
          <p:cNvPr id="17" name="Изображение 30"/>
          <p:cNvPicPr>
            <a:picLocks noChangeAspect="1"/>
          </p:cNvPicPr>
          <p:nvPr/>
        </p:nvPicPr>
        <p:blipFill>
          <a:blip r:embed="rId11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4851" y="4242926"/>
            <a:ext cx="583580" cy="504000"/>
          </a:xfrm>
          <a:prstGeom prst="rect">
            <a:avLst/>
          </a:prstGeom>
        </p:spPr>
      </p:pic>
      <p:sp>
        <p:nvSpPr>
          <p:cNvPr id="23" name="object 6"/>
          <p:cNvSpPr/>
          <p:nvPr/>
        </p:nvSpPr>
        <p:spPr>
          <a:xfrm>
            <a:off x="266535" y="376318"/>
            <a:ext cx="11649132" cy="6262165"/>
          </a:xfrm>
          <a:custGeom>
            <a:avLst/>
            <a:gdLst/>
            <a:ahLst/>
            <a:cxnLst/>
            <a:rect l="l" t="t" r="r" b="b"/>
            <a:pathLst>
              <a:path w="9714865" h="6557645">
                <a:moveTo>
                  <a:pt x="0" y="6557022"/>
                </a:moveTo>
                <a:lnTo>
                  <a:pt x="9714598" y="6557022"/>
                </a:lnTo>
                <a:lnTo>
                  <a:pt x="9714598" y="0"/>
                </a:lnTo>
                <a:lnTo>
                  <a:pt x="0" y="0"/>
                </a:lnTo>
                <a:lnTo>
                  <a:pt x="0" y="6557022"/>
                </a:lnTo>
                <a:close/>
              </a:path>
            </a:pathLst>
          </a:custGeom>
          <a:noFill/>
          <a:ln w="173355">
            <a:solidFill>
              <a:srgbClr val="00DE0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1146590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Изображение 5" descr="francesco-gallarotti-2498 (1).jpg"/>
          <p:cNvPicPr>
            <a:picLocks noChangeAspect="1"/>
          </p:cNvPicPr>
          <p:nvPr/>
        </p:nvPicPr>
        <p:blipFill rotWithShape="1">
          <a:blip r:embed="rId2" cstate="print">
            <a:alphaModFix amt="2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625" b="-15625"/>
          <a:stretch/>
        </p:blipFill>
        <p:spPr>
          <a:xfrm>
            <a:off x="0" y="0"/>
            <a:ext cx="12192000" cy="8128000"/>
          </a:xfrm>
          <a:prstGeom prst="rect">
            <a:avLst/>
          </a:prstGeom>
        </p:spPr>
      </p:pic>
      <p:grpSp>
        <p:nvGrpSpPr>
          <p:cNvPr id="27" name="Группа 26"/>
          <p:cNvGrpSpPr/>
          <p:nvPr/>
        </p:nvGrpSpPr>
        <p:grpSpPr>
          <a:xfrm>
            <a:off x="2397109" y="4175242"/>
            <a:ext cx="1656000" cy="1656000"/>
            <a:chOff x="3991304" y="3867518"/>
            <a:chExt cx="1656000" cy="1656000"/>
          </a:xfrm>
        </p:grpSpPr>
        <p:sp>
          <p:nvSpPr>
            <p:cNvPr id="13" name="TextBox 12"/>
            <p:cNvSpPr txBox="1"/>
            <p:nvPr/>
          </p:nvSpPr>
          <p:spPr>
            <a:xfrm>
              <a:off x="4180507" y="5029940"/>
              <a:ext cx="1300541" cy="276997"/>
            </a:xfrm>
            <a:prstGeom prst="rect">
              <a:avLst/>
            </a:prstGeom>
            <a:noFill/>
          </p:spPr>
          <p:txBody>
            <a:bodyPr wrap="none" lIns="91436" tIns="45719" rIns="91436" bIns="45719" rtlCol="0">
              <a:spAutoFit/>
            </a:bodyPr>
            <a:lstStyle/>
            <a:p>
              <a:r>
                <a:rPr lang="ru-RU" sz="1200" dirty="0" smtClean="0">
                  <a:solidFill>
                    <a:schemeClr val="bg1"/>
                  </a:solidFill>
                  <a:latin typeface="Arial"/>
                  <a:cs typeface="Arial"/>
                </a:rPr>
                <a:t>Пост - картинка</a:t>
              </a:r>
              <a:endParaRPr lang="ru-RU" sz="1200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pic>
          <p:nvPicPr>
            <p:cNvPr id="19" name="Изображение 33"/>
            <p:cNvPicPr>
              <a:picLocks noChangeAspect="1"/>
            </p:cNvPicPr>
            <p:nvPr/>
          </p:nvPicPr>
          <p:blipFill>
            <a:blip r:embed="rId3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19970" y="3972956"/>
              <a:ext cx="598668" cy="404197"/>
            </a:xfrm>
            <a:prstGeom prst="rect">
              <a:avLst/>
            </a:prstGeom>
          </p:spPr>
        </p:pic>
        <p:sp>
          <p:nvSpPr>
            <p:cNvPr id="3" name="Прямоугольник 2"/>
            <p:cNvSpPr/>
            <p:nvPr/>
          </p:nvSpPr>
          <p:spPr>
            <a:xfrm>
              <a:off x="4102601" y="4245465"/>
              <a:ext cx="1433406" cy="8309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/>
              <a:r>
                <a:rPr lang="ru-RU" sz="4800" b="1" dirty="0" smtClean="0">
                  <a:solidFill>
                    <a:schemeClr val="accent1">
                      <a:lumMod val="20000"/>
                      <a:lumOff val="80000"/>
                    </a:schemeClr>
                  </a:solidFill>
                  <a:latin typeface="Arial"/>
                  <a:cs typeface="Arial"/>
                </a:rPr>
                <a:t>+9</a:t>
              </a:r>
              <a:r>
                <a:rPr lang="en-US" sz="4800" b="1" dirty="0" smtClean="0">
                  <a:solidFill>
                    <a:schemeClr val="accent1">
                      <a:lumMod val="20000"/>
                      <a:lumOff val="80000"/>
                    </a:schemeClr>
                  </a:solidFill>
                  <a:latin typeface="Arial"/>
                  <a:cs typeface="Arial"/>
                </a:rPr>
                <a:t>%</a:t>
              </a:r>
              <a:endParaRPr lang="ru-RU" sz="48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3" name="Овал 22"/>
            <p:cNvSpPr/>
            <p:nvPr/>
          </p:nvSpPr>
          <p:spPr>
            <a:xfrm>
              <a:off x="3991304" y="3867518"/>
              <a:ext cx="1656000" cy="1656000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4" name="Группа 3"/>
          <p:cNvGrpSpPr/>
          <p:nvPr/>
        </p:nvGrpSpPr>
        <p:grpSpPr>
          <a:xfrm>
            <a:off x="4924867" y="4175242"/>
            <a:ext cx="1776448" cy="1656000"/>
            <a:chOff x="5810510" y="3810728"/>
            <a:chExt cx="1776448" cy="1656000"/>
          </a:xfrm>
        </p:grpSpPr>
        <p:sp>
          <p:nvSpPr>
            <p:cNvPr id="14" name="TextBox 13"/>
            <p:cNvSpPr txBox="1"/>
            <p:nvPr/>
          </p:nvSpPr>
          <p:spPr>
            <a:xfrm>
              <a:off x="6160276" y="5029940"/>
              <a:ext cx="1093561" cy="276997"/>
            </a:xfrm>
            <a:prstGeom prst="rect">
              <a:avLst/>
            </a:prstGeom>
            <a:noFill/>
          </p:spPr>
          <p:txBody>
            <a:bodyPr wrap="none" lIns="91436" tIns="45719" rIns="91436" bIns="45719" rtlCol="0">
              <a:spAutoFit/>
            </a:bodyPr>
            <a:lstStyle/>
            <a:p>
              <a:r>
                <a:rPr lang="ru-RU" sz="1200" dirty="0" smtClean="0">
                  <a:solidFill>
                    <a:schemeClr val="bg1"/>
                  </a:solidFill>
                  <a:latin typeface="Arial"/>
                  <a:cs typeface="Arial"/>
                </a:rPr>
                <a:t>Пост - видео</a:t>
              </a:r>
              <a:endParaRPr lang="ru-RU" sz="1200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pic>
          <p:nvPicPr>
            <p:cNvPr id="18" name="Изображение 31"/>
            <p:cNvPicPr>
              <a:picLocks noChangeAspect="1"/>
            </p:cNvPicPr>
            <p:nvPr/>
          </p:nvPicPr>
          <p:blipFill>
            <a:blip r:embed="rId4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64066" y="3966669"/>
              <a:ext cx="469336" cy="416770"/>
            </a:xfrm>
            <a:prstGeom prst="rect">
              <a:avLst/>
            </a:prstGeom>
          </p:spPr>
        </p:pic>
        <p:sp>
          <p:nvSpPr>
            <p:cNvPr id="22" name="Овал 21"/>
            <p:cNvSpPr/>
            <p:nvPr/>
          </p:nvSpPr>
          <p:spPr>
            <a:xfrm>
              <a:off x="5870734" y="3810728"/>
              <a:ext cx="1656000" cy="1656000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5810510" y="4291191"/>
              <a:ext cx="1776448" cy="8309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/>
              <a:r>
                <a:rPr lang="ru-RU" sz="4800" b="1" dirty="0">
                  <a:solidFill>
                    <a:schemeClr val="accent1">
                      <a:lumMod val="20000"/>
                      <a:lumOff val="80000"/>
                    </a:schemeClr>
                  </a:solidFill>
                  <a:latin typeface="Arial"/>
                  <a:cs typeface="Arial"/>
                </a:rPr>
                <a:t>+</a:t>
              </a:r>
              <a:r>
                <a:rPr lang="ru-RU" sz="4800" b="1" dirty="0" smtClean="0">
                  <a:solidFill>
                    <a:schemeClr val="accent1">
                      <a:lumMod val="20000"/>
                      <a:lumOff val="80000"/>
                    </a:schemeClr>
                  </a:solidFill>
                  <a:latin typeface="Arial"/>
                  <a:cs typeface="Arial"/>
                </a:rPr>
                <a:t>19</a:t>
              </a:r>
              <a:r>
                <a:rPr lang="en-US" sz="4800" b="1" dirty="0" smtClean="0">
                  <a:solidFill>
                    <a:schemeClr val="accent1">
                      <a:lumMod val="20000"/>
                      <a:lumOff val="80000"/>
                    </a:schemeClr>
                  </a:solidFill>
                  <a:latin typeface="Arial"/>
                  <a:cs typeface="Arial"/>
                </a:rPr>
                <a:t>%</a:t>
              </a:r>
              <a:endParaRPr lang="ru-RU" sz="48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2" name="Группа 1"/>
          <p:cNvGrpSpPr/>
          <p:nvPr/>
        </p:nvGrpSpPr>
        <p:grpSpPr>
          <a:xfrm>
            <a:off x="7573073" y="4175242"/>
            <a:ext cx="1776448" cy="1656000"/>
            <a:chOff x="7942483" y="3791110"/>
            <a:chExt cx="1776448" cy="1656000"/>
          </a:xfrm>
        </p:grpSpPr>
        <p:sp>
          <p:nvSpPr>
            <p:cNvPr id="15" name="TextBox 14"/>
            <p:cNvSpPr txBox="1"/>
            <p:nvPr/>
          </p:nvSpPr>
          <p:spPr>
            <a:xfrm>
              <a:off x="8513958" y="5029940"/>
              <a:ext cx="862536" cy="276997"/>
            </a:xfrm>
            <a:prstGeom prst="rect">
              <a:avLst/>
            </a:prstGeom>
            <a:noFill/>
          </p:spPr>
          <p:txBody>
            <a:bodyPr wrap="none" lIns="91436" tIns="45719" rIns="91436" bIns="45719" rtlCol="0">
              <a:spAutoFit/>
            </a:bodyPr>
            <a:lstStyle/>
            <a:p>
              <a:r>
                <a:rPr lang="ru-RU" sz="1200" dirty="0" smtClean="0">
                  <a:solidFill>
                    <a:schemeClr val="bg1"/>
                  </a:solidFill>
                  <a:latin typeface="Arial"/>
                  <a:cs typeface="Arial"/>
                </a:rPr>
                <a:t>Пре-ролл</a:t>
              </a:r>
              <a:endParaRPr lang="ru-RU" sz="1200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pic>
          <p:nvPicPr>
            <p:cNvPr id="17" name="Изображение 30"/>
            <p:cNvPicPr>
              <a:picLocks noChangeAspect="1"/>
            </p:cNvPicPr>
            <p:nvPr/>
          </p:nvPicPr>
          <p:blipFill>
            <a:blip r:embed="rId5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96698" y="3972956"/>
              <a:ext cx="468018" cy="404196"/>
            </a:xfrm>
            <a:prstGeom prst="rect">
              <a:avLst/>
            </a:prstGeom>
          </p:spPr>
        </p:pic>
        <p:sp>
          <p:nvSpPr>
            <p:cNvPr id="24" name="Овал 23"/>
            <p:cNvSpPr/>
            <p:nvPr/>
          </p:nvSpPr>
          <p:spPr>
            <a:xfrm>
              <a:off x="8002707" y="3791110"/>
              <a:ext cx="1656000" cy="1656000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6" name="Прямоугольник 25"/>
            <p:cNvSpPr/>
            <p:nvPr/>
          </p:nvSpPr>
          <p:spPr>
            <a:xfrm>
              <a:off x="7942483" y="4296566"/>
              <a:ext cx="1776448" cy="8309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/>
              <a:r>
                <a:rPr lang="ru-RU" sz="4800" b="1" dirty="0" smtClean="0">
                  <a:solidFill>
                    <a:schemeClr val="accent1">
                      <a:lumMod val="20000"/>
                      <a:lumOff val="80000"/>
                    </a:schemeClr>
                  </a:solidFill>
                  <a:latin typeface="Arial"/>
                  <a:cs typeface="Arial"/>
                </a:rPr>
                <a:t>+26</a:t>
              </a:r>
              <a:r>
                <a:rPr lang="en-US" sz="4800" b="1" dirty="0" smtClean="0">
                  <a:solidFill>
                    <a:schemeClr val="accent1">
                      <a:lumMod val="20000"/>
                      <a:lumOff val="80000"/>
                    </a:schemeClr>
                  </a:solidFill>
                  <a:latin typeface="Arial"/>
                  <a:cs typeface="Arial"/>
                </a:rPr>
                <a:t>%</a:t>
              </a:r>
              <a:endParaRPr lang="ru-RU" sz="48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Arial"/>
                <a:cs typeface="Arial"/>
              </a:endParaRPr>
            </a:p>
          </p:txBody>
        </p:sp>
      </p:grpSp>
      <p:sp>
        <p:nvSpPr>
          <p:cNvPr id="29" name="TextBox 28"/>
          <p:cNvSpPr txBox="1"/>
          <p:nvPr/>
        </p:nvSpPr>
        <p:spPr>
          <a:xfrm>
            <a:off x="729895" y="3532601"/>
            <a:ext cx="30201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00DE04"/>
                </a:solidFill>
                <a:latin typeface="Arial"/>
                <a:cs typeface="Arial"/>
              </a:rPr>
              <a:t>INTERACTION% UPLIFT</a:t>
            </a:r>
            <a:endParaRPr lang="ru-RU" b="1" dirty="0">
              <a:solidFill>
                <a:srgbClr val="00DE04"/>
              </a:solidFill>
              <a:latin typeface="Arial"/>
              <a:cs typeface="Arial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5590775" y="6335113"/>
            <a:ext cx="6273799" cy="215442"/>
          </a:xfrm>
          <a:prstGeom prst="rect">
            <a:avLst/>
          </a:prstGeom>
        </p:spPr>
        <p:txBody>
          <a:bodyPr wrap="square" lIns="91436" tIns="45719" rIns="91436" bIns="45719">
            <a:spAutoFit/>
          </a:bodyPr>
          <a:lstStyle/>
          <a:p>
            <a:pPr algn="r"/>
            <a:r>
              <a:rPr lang="ru-RU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анализ взяты все кампании в аналогичном формате за период октябрь 16 – март 17, триггер по простуде</a:t>
            </a:r>
            <a:endParaRPr lang="ru-RU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1741441" y="2091506"/>
            <a:ext cx="8632867" cy="918000"/>
            <a:chOff x="1741441" y="2091506"/>
            <a:chExt cx="8632867" cy="918000"/>
          </a:xfrm>
        </p:grpSpPr>
        <p:pic>
          <p:nvPicPr>
            <p:cNvPr id="33" name="Рисунок 32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41441" y="2158567"/>
              <a:ext cx="783878" cy="783878"/>
            </a:xfrm>
            <a:prstGeom prst="rect">
              <a:avLst/>
            </a:prstGeom>
          </p:spPr>
        </p:pic>
        <p:pic>
          <p:nvPicPr>
            <p:cNvPr id="34" name="Изображение 13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954543" y="2106972"/>
              <a:ext cx="993669" cy="887069"/>
            </a:xfrm>
            <a:prstGeom prst="rect">
              <a:avLst/>
            </a:prstGeom>
          </p:spPr>
        </p:pic>
        <p:pic>
          <p:nvPicPr>
            <p:cNvPr id="35" name="Изображение 10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293125" y="2092475"/>
              <a:ext cx="1026148" cy="916063"/>
            </a:xfrm>
            <a:prstGeom prst="rect">
              <a:avLst/>
            </a:prstGeom>
          </p:spPr>
        </p:pic>
        <p:pic>
          <p:nvPicPr>
            <p:cNvPr id="36" name="Рисунок 35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64186" y="2091506"/>
              <a:ext cx="1029303" cy="918000"/>
            </a:xfrm>
            <a:prstGeom prst="rect">
              <a:avLst/>
            </a:prstGeom>
          </p:spPr>
        </p:pic>
        <p:pic>
          <p:nvPicPr>
            <p:cNvPr id="38" name="Рисунок 37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02623" y="2122735"/>
              <a:ext cx="855543" cy="855543"/>
            </a:xfrm>
            <a:prstGeom prst="rect">
              <a:avLst/>
            </a:prstGeom>
          </p:spPr>
        </p:pic>
        <p:pic>
          <p:nvPicPr>
            <p:cNvPr id="39" name="Рисунок 38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87390" y="2207048"/>
              <a:ext cx="686918" cy="686918"/>
            </a:xfrm>
            <a:prstGeom prst="rect">
              <a:avLst/>
            </a:prstGeom>
          </p:spPr>
        </p:pic>
        <p:pic>
          <p:nvPicPr>
            <p:cNvPr id="40" name="Рисунок 39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38402" y="2095963"/>
              <a:ext cx="1019308" cy="909087"/>
            </a:xfrm>
            <a:prstGeom prst="rect">
              <a:avLst/>
            </a:prstGeom>
          </p:spPr>
        </p:pic>
      </p:grpSp>
      <p:sp>
        <p:nvSpPr>
          <p:cNvPr id="41" name="Название 1"/>
          <p:cNvSpPr>
            <a:spLocks noGrp="1"/>
          </p:cNvSpPr>
          <p:nvPr>
            <p:ph type="title"/>
          </p:nvPr>
        </p:nvSpPr>
        <p:spPr>
          <a:xfrm>
            <a:off x="609600" y="473291"/>
            <a:ext cx="10125075" cy="972744"/>
          </a:xfrm>
        </p:spPr>
        <p:txBody>
          <a:bodyPr/>
          <a:lstStyle/>
          <a:p>
            <a:r>
              <a:rPr lang="ru-RU" sz="3200" b="1" dirty="0">
                <a:solidFill>
                  <a:schemeClr val="bg1"/>
                </a:solidFill>
                <a:latin typeface="Arial"/>
                <a:cs typeface="Arial"/>
              </a:rPr>
              <a:t>ТРИГГЕРНАЯ ПЛАТФОРМА УЖЕ ПРИМЕНЯЕТСЯ 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719622" y="1342179"/>
            <a:ext cx="93798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208CEE"/>
              </a:buClr>
              <a:buSzPct val="140000"/>
            </a:pPr>
            <a:r>
              <a:rPr lang="ru-RU" b="1" dirty="0" smtClean="0">
                <a:solidFill>
                  <a:srgbClr val="00DE04"/>
                </a:solidFill>
                <a:latin typeface="Arial"/>
                <a:cs typeface="Arial"/>
              </a:rPr>
              <a:t>СЕГМЕНТЫ РЕКЛАМОДАТЕЛЕЙ, КОТОРЫЕ УЖЕ РАЗМЕЩАЛИСЬ С ТРИГГЕРОМ</a:t>
            </a:r>
            <a:endParaRPr lang="ru-RU" b="1" dirty="0">
              <a:solidFill>
                <a:srgbClr val="00DE04"/>
              </a:solidFill>
              <a:latin typeface="Arial"/>
              <a:cs typeface="Arial"/>
            </a:endParaRPr>
          </a:p>
        </p:txBody>
      </p:sp>
      <p:sp>
        <p:nvSpPr>
          <p:cNvPr id="31" name="object 6"/>
          <p:cNvSpPr/>
          <p:nvPr/>
        </p:nvSpPr>
        <p:spPr>
          <a:xfrm>
            <a:off x="266535" y="376318"/>
            <a:ext cx="11649132" cy="6262165"/>
          </a:xfrm>
          <a:custGeom>
            <a:avLst/>
            <a:gdLst/>
            <a:ahLst/>
            <a:cxnLst/>
            <a:rect l="l" t="t" r="r" b="b"/>
            <a:pathLst>
              <a:path w="9714865" h="6557645">
                <a:moveTo>
                  <a:pt x="0" y="6557022"/>
                </a:moveTo>
                <a:lnTo>
                  <a:pt x="9714598" y="6557022"/>
                </a:lnTo>
                <a:lnTo>
                  <a:pt x="9714598" y="0"/>
                </a:lnTo>
                <a:lnTo>
                  <a:pt x="0" y="0"/>
                </a:lnTo>
                <a:lnTo>
                  <a:pt x="0" y="6557022"/>
                </a:lnTo>
                <a:close/>
              </a:path>
            </a:pathLst>
          </a:custGeom>
          <a:noFill/>
          <a:ln w="173355">
            <a:solidFill>
              <a:srgbClr val="00DE0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6002883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95000"/>
            <a:lumOff val="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Изображение 1" descr="74664995348876 (1).jpg"/>
          <p:cNvPicPr>
            <a:picLocks noChangeAspect="1"/>
          </p:cNvPicPr>
          <p:nvPr/>
        </p:nvPicPr>
        <p:blipFill rotWithShape="1">
          <a:blip r:embed="rId2" cstate="print">
            <a:alphaModFix amt="4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730" b="9159"/>
          <a:stretch/>
        </p:blipFill>
        <p:spPr>
          <a:xfrm>
            <a:off x="-31138" y="-1"/>
            <a:ext cx="12223138" cy="6858001"/>
          </a:xfrm>
          <a:prstGeom prst="rect">
            <a:avLst/>
          </a:prstGeom>
        </p:spPr>
      </p:pic>
      <p:sp>
        <p:nvSpPr>
          <p:cNvPr id="5" name="object 6"/>
          <p:cNvSpPr/>
          <p:nvPr/>
        </p:nvSpPr>
        <p:spPr>
          <a:xfrm>
            <a:off x="266535" y="376318"/>
            <a:ext cx="11649132" cy="6262165"/>
          </a:xfrm>
          <a:custGeom>
            <a:avLst/>
            <a:gdLst/>
            <a:ahLst/>
            <a:cxnLst/>
            <a:rect l="l" t="t" r="r" b="b"/>
            <a:pathLst>
              <a:path w="9714865" h="6557645">
                <a:moveTo>
                  <a:pt x="0" y="6557022"/>
                </a:moveTo>
                <a:lnTo>
                  <a:pt x="9714598" y="6557022"/>
                </a:lnTo>
                <a:lnTo>
                  <a:pt x="9714598" y="0"/>
                </a:lnTo>
                <a:lnTo>
                  <a:pt x="0" y="0"/>
                </a:lnTo>
                <a:lnTo>
                  <a:pt x="0" y="6557022"/>
                </a:lnTo>
                <a:close/>
              </a:path>
            </a:pathLst>
          </a:custGeom>
          <a:noFill/>
          <a:ln w="173355">
            <a:solidFill>
              <a:srgbClr val="00DE04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азвание 1"/>
          <p:cNvSpPr>
            <a:spLocks noGrp="1"/>
          </p:cNvSpPr>
          <p:nvPr>
            <p:ph type="title"/>
          </p:nvPr>
        </p:nvSpPr>
        <p:spPr>
          <a:xfrm>
            <a:off x="609600" y="473291"/>
            <a:ext cx="9685792" cy="972744"/>
          </a:xfrm>
        </p:spPr>
        <p:txBody>
          <a:bodyPr/>
          <a:lstStyle/>
          <a:p>
            <a:pPr algn="l"/>
            <a:r>
              <a:rPr lang="ru-RU" b="1" dirty="0" smtClean="0">
                <a:solidFill>
                  <a:srgbClr val="00DE04"/>
                </a:solidFill>
                <a:latin typeface="Arial"/>
                <a:cs typeface="Arial"/>
              </a:rPr>
              <a:t>ИЗМЕНЯЕМ СОЗНАНИЕ!</a:t>
            </a:r>
            <a:endParaRPr lang="ru-RU" b="1" dirty="0">
              <a:solidFill>
                <a:srgbClr val="00DE04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7999605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5084064" y="2378955"/>
            <a:ext cx="6452616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РОССИИ БОЛЕЕ 160 ЛЕКАРСТВЕННЫХ ПРЕПАРАТОВ </a:t>
            </a:r>
            <a:b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ПРОСТУДЫ, ПОСТОЯННО ПОЯВЛЯЮТСЯ НОВЫЕ</a:t>
            </a:r>
            <a:endParaRPr lang="en-US" sz="16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6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ЗОН ВЫСОКИХ ПРОДАЖ ПРИВЯЗАН К ЭПИДЕМИЯМ</a:t>
            </a:r>
          </a:p>
          <a:p>
            <a:endParaRPr lang="ru-RU" sz="16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ЖДЫЙ ПРОИЗВОДИТЕЛЬ СТРЕМИТСЯ НАРАСТИТЬ </a:t>
            </a:r>
            <a:b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ЛЮ РЫНКА – КОНКУРЕНЦИЯ УСИЛИВАЕТСЯ</a:t>
            </a:r>
          </a:p>
          <a:p>
            <a:endParaRPr lang="ru-RU" sz="16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ОБХОДИМЫ НОВЫЕ ИНСТРУМЕНТЫ ДЛЯ АДРЕСНОЙ КОММУНИКАЦИИ С ПОТРЕБИТЕЛЕМ</a:t>
            </a:r>
          </a:p>
        </p:txBody>
      </p:sp>
      <p:sp>
        <p:nvSpPr>
          <p:cNvPr id="5" name="Название 1"/>
          <p:cNvSpPr>
            <a:spLocks noGrp="1"/>
          </p:cNvSpPr>
          <p:nvPr>
            <p:ph type="title"/>
          </p:nvPr>
        </p:nvSpPr>
        <p:spPr>
          <a:xfrm>
            <a:off x="5084064" y="851570"/>
            <a:ext cx="5415924" cy="972744"/>
          </a:xfrm>
        </p:spPr>
        <p:txBody>
          <a:bodyPr/>
          <a:lstStyle/>
          <a:p>
            <a:pPr algn="l"/>
            <a:r>
              <a:rPr lang="ru-RU" sz="4000" b="1" dirty="0" smtClean="0">
                <a:solidFill>
                  <a:srgbClr val="00DE04"/>
                </a:solidFill>
                <a:latin typeface="Arial"/>
                <a:cs typeface="Arial"/>
              </a:rPr>
              <a:t>ПРЕДПОСЫЛКИ</a:t>
            </a:r>
            <a:endParaRPr lang="ru-RU" sz="4000" b="1" dirty="0">
              <a:solidFill>
                <a:srgbClr val="00DE04"/>
              </a:solidFill>
              <a:latin typeface="Arial"/>
              <a:cs typeface="Arial"/>
            </a:endParaRPr>
          </a:p>
        </p:txBody>
      </p:sp>
      <p:pic>
        <p:nvPicPr>
          <p:cNvPr id="7" name="Изображение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5795" y="1883611"/>
            <a:ext cx="3073400" cy="3111500"/>
          </a:xfrm>
          <a:prstGeom prst="rect">
            <a:avLst/>
          </a:prstGeom>
        </p:spPr>
      </p:pic>
      <p:sp>
        <p:nvSpPr>
          <p:cNvPr id="8" name="object 6"/>
          <p:cNvSpPr/>
          <p:nvPr/>
        </p:nvSpPr>
        <p:spPr>
          <a:xfrm>
            <a:off x="266535" y="376318"/>
            <a:ext cx="11649132" cy="6262165"/>
          </a:xfrm>
          <a:custGeom>
            <a:avLst/>
            <a:gdLst/>
            <a:ahLst/>
            <a:cxnLst/>
            <a:rect l="l" t="t" r="r" b="b"/>
            <a:pathLst>
              <a:path w="9714865" h="6557645">
                <a:moveTo>
                  <a:pt x="0" y="6557022"/>
                </a:moveTo>
                <a:lnTo>
                  <a:pt x="9714598" y="6557022"/>
                </a:lnTo>
                <a:lnTo>
                  <a:pt x="9714598" y="0"/>
                </a:lnTo>
                <a:lnTo>
                  <a:pt x="0" y="0"/>
                </a:lnTo>
                <a:lnTo>
                  <a:pt x="0" y="6557022"/>
                </a:lnTo>
                <a:close/>
              </a:path>
            </a:pathLst>
          </a:custGeom>
          <a:noFill/>
          <a:ln w="173355">
            <a:solidFill>
              <a:srgbClr val="00DE0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4279446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Изображение 1" descr="sergey-turkin-97457.jpg"/>
          <p:cNvPicPr>
            <a:picLocks noChangeAspect="1"/>
          </p:cNvPicPr>
          <p:nvPr/>
        </p:nvPicPr>
        <p:blipFill rotWithShape="1">
          <a:blip r:embed="rId3" cstate="print">
            <a:alphaModFix amt="4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84" b="651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28" name="Picture 4" descr="http://rcgit.ru/images/map-russia.png"/>
          <p:cNvPicPr>
            <a:picLocks noChangeAspect="1" noChangeArrowheads="1"/>
          </p:cNvPicPr>
          <p:nvPr/>
        </p:nvPicPr>
        <p:blipFill>
          <a:blip r:embed="rId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8277" y="627193"/>
            <a:ext cx="9855960" cy="5433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Название 1"/>
          <p:cNvSpPr>
            <a:spLocks noGrp="1"/>
          </p:cNvSpPr>
          <p:nvPr>
            <p:ph type="title"/>
          </p:nvPr>
        </p:nvSpPr>
        <p:spPr>
          <a:xfrm>
            <a:off x="609600" y="473291"/>
            <a:ext cx="6966857" cy="972744"/>
          </a:xfrm>
        </p:spPr>
        <p:txBody>
          <a:bodyPr/>
          <a:lstStyle/>
          <a:p>
            <a:pPr algn="l"/>
            <a:r>
              <a:rPr lang="ru-RU" sz="3200" b="1" dirty="0" smtClean="0">
                <a:solidFill>
                  <a:srgbClr val="00DE04"/>
                </a:solidFill>
                <a:latin typeface="Arial"/>
                <a:cs typeface="Arial"/>
              </a:rPr>
              <a:t>РОССИЯ – БОЛЬШАЯ СТРАНА</a:t>
            </a:r>
            <a:endParaRPr lang="ru-RU" sz="3200" b="1" dirty="0">
              <a:solidFill>
                <a:srgbClr val="00DE04"/>
              </a:solidFill>
              <a:latin typeface="Arial"/>
              <a:cs typeface="Arial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8727439" y="6614159"/>
            <a:ext cx="3432103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9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нные ВОЗ, НИИ Гриппа \ Погода 08 неделя 2016</a:t>
            </a:r>
            <a:endParaRPr lang="ru-RU" sz="9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078985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Изображение 16" descr="sergey-turkin-97457.jpg"/>
          <p:cNvPicPr>
            <a:picLocks noChangeAspect="1"/>
          </p:cNvPicPr>
          <p:nvPr/>
        </p:nvPicPr>
        <p:blipFill rotWithShape="1">
          <a:blip r:embed="rId3" cstate="print">
            <a:alphaModFix amt="4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84" b="651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28" name="Picture 4" descr="http://rcgit.ru/images/map-russia.png"/>
          <p:cNvPicPr>
            <a:picLocks noChangeAspect="1" noChangeArrowheads="1"/>
          </p:cNvPicPr>
          <p:nvPr/>
        </p:nvPicPr>
        <p:blipFill>
          <a:blip r:embed="rId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8277" y="627193"/>
            <a:ext cx="9855960" cy="5433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Название 1"/>
          <p:cNvSpPr>
            <a:spLocks noGrp="1"/>
          </p:cNvSpPr>
          <p:nvPr>
            <p:ph type="title"/>
          </p:nvPr>
        </p:nvSpPr>
        <p:spPr>
          <a:xfrm>
            <a:off x="609600" y="473291"/>
            <a:ext cx="6966857" cy="972744"/>
          </a:xfrm>
        </p:spPr>
        <p:txBody>
          <a:bodyPr/>
          <a:lstStyle/>
          <a:p>
            <a:pPr algn="l"/>
            <a:r>
              <a:rPr lang="ru-RU" sz="3200" b="1" dirty="0" smtClean="0">
                <a:solidFill>
                  <a:srgbClr val="00DE04"/>
                </a:solidFill>
                <a:latin typeface="Arial"/>
                <a:cs typeface="Arial"/>
              </a:rPr>
              <a:t>РОССИЯ – БОЛЬШАЯ СТРАНА</a:t>
            </a:r>
            <a:endParaRPr lang="ru-RU" sz="3200" b="1" dirty="0">
              <a:solidFill>
                <a:srgbClr val="00DE04"/>
              </a:solidFill>
              <a:latin typeface="Arial"/>
              <a:cs typeface="Arial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8727439" y="6614159"/>
            <a:ext cx="3432103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9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нные ВОЗ, НИИ Гриппа \ Погода 08 неделя 2016</a:t>
            </a:r>
            <a:endParaRPr lang="ru-RU" sz="9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Овал 58"/>
          <p:cNvSpPr/>
          <p:nvPr/>
        </p:nvSpPr>
        <p:spPr>
          <a:xfrm>
            <a:off x="3308070" y="2077234"/>
            <a:ext cx="566269" cy="550423"/>
          </a:xfrm>
          <a:prstGeom prst="ellipse">
            <a:avLst/>
          </a:prstGeom>
          <a:solidFill>
            <a:srgbClr val="3F12F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3</a:t>
            </a:r>
            <a:endParaRPr lang="ru-RU" sz="14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Овал 59"/>
          <p:cNvSpPr/>
          <p:nvPr/>
        </p:nvSpPr>
        <p:spPr>
          <a:xfrm>
            <a:off x="2407608" y="2877022"/>
            <a:ext cx="566269" cy="550423"/>
          </a:xfrm>
          <a:prstGeom prst="ellipse">
            <a:avLst/>
          </a:prstGeom>
          <a:solidFill>
            <a:srgbClr val="3F12F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1</a:t>
            </a:r>
            <a:endParaRPr lang="ru-RU" sz="14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Овал 60"/>
          <p:cNvSpPr/>
          <p:nvPr/>
        </p:nvSpPr>
        <p:spPr>
          <a:xfrm>
            <a:off x="6712671" y="4887468"/>
            <a:ext cx="566269" cy="550423"/>
          </a:xfrm>
          <a:prstGeom prst="ellipse">
            <a:avLst/>
          </a:prstGeom>
          <a:solidFill>
            <a:srgbClr val="3F12F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9</a:t>
            </a:r>
            <a:endParaRPr lang="ru-RU" sz="14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Овал 61"/>
          <p:cNvSpPr/>
          <p:nvPr/>
        </p:nvSpPr>
        <p:spPr>
          <a:xfrm>
            <a:off x="9442101" y="5162680"/>
            <a:ext cx="566269" cy="550423"/>
          </a:xfrm>
          <a:prstGeom prst="ellipse">
            <a:avLst/>
          </a:prstGeom>
          <a:solidFill>
            <a:srgbClr val="3F12F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5</a:t>
            </a:r>
            <a:endParaRPr lang="ru-RU" sz="14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Овал 62"/>
          <p:cNvSpPr/>
          <p:nvPr/>
        </p:nvSpPr>
        <p:spPr>
          <a:xfrm>
            <a:off x="1606881" y="3250672"/>
            <a:ext cx="566269" cy="550423"/>
          </a:xfrm>
          <a:prstGeom prst="ellipse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1</a:t>
            </a:r>
            <a:endParaRPr lang="ru-RU" sz="14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6525434" y="4623184"/>
            <a:ext cx="1006195" cy="2250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3F12F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олодно</a:t>
            </a:r>
            <a:endParaRPr lang="ru-RU" sz="1200" b="1" dirty="0">
              <a:solidFill>
                <a:srgbClr val="3F12F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1548192" y="3814454"/>
            <a:ext cx="1006195" cy="2250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пло</a:t>
            </a:r>
            <a:endParaRPr lang="ru-RU" sz="12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Овал 65"/>
          <p:cNvSpPr/>
          <p:nvPr/>
        </p:nvSpPr>
        <p:spPr>
          <a:xfrm>
            <a:off x="9442100" y="1147912"/>
            <a:ext cx="612000" cy="612000"/>
          </a:xfrm>
          <a:prstGeom prst="ellipse">
            <a:avLst/>
          </a:prstGeom>
          <a:solidFill>
            <a:srgbClr val="3F12F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27</a:t>
            </a:r>
            <a:endParaRPr lang="ru-RU" sz="12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Овал 15"/>
          <p:cNvSpPr/>
          <p:nvPr/>
        </p:nvSpPr>
        <p:spPr>
          <a:xfrm>
            <a:off x="1242192" y="3851556"/>
            <a:ext cx="612000" cy="612000"/>
          </a:xfrm>
          <a:prstGeom prst="ellipse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r>
              <a:rPr lang="ru-RU" sz="12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</a:t>
            </a:r>
            <a:endParaRPr lang="ru-RU" sz="12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0532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Изображение 29" descr="sergey-turkin-97457.jpg"/>
          <p:cNvPicPr>
            <a:picLocks noChangeAspect="1"/>
          </p:cNvPicPr>
          <p:nvPr/>
        </p:nvPicPr>
        <p:blipFill rotWithShape="1">
          <a:blip r:embed="rId3" cstate="print">
            <a:alphaModFix amt="4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84" b="651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28" name="Picture 4" descr="http://rcgit.ru/images/map-russia.png"/>
          <p:cNvPicPr>
            <a:picLocks noChangeAspect="1" noChangeArrowheads="1"/>
          </p:cNvPicPr>
          <p:nvPr/>
        </p:nvPicPr>
        <p:blipFill>
          <a:blip r:embed="rId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8277" y="627193"/>
            <a:ext cx="9855960" cy="5433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Название 1"/>
          <p:cNvSpPr>
            <a:spLocks noGrp="1"/>
          </p:cNvSpPr>
          <p:nvPr>
            <p:ph type="title"/>
          </p:nvPr>
        </p:nvSpPr>
        <p:spPr>
          <a:xfrm>
            <a:off x="609600" y="473291"/>
            <a:ext cx="6966857" cy="972744"/>
          </a:xfrm>
        </p:spPr>
        <p:txBody>
          <a:bodyPr/>
          <a:lstStyle/>
          <a:p>
            <a:pPr algn="l"/>
            <a:r>
              <a:rPr lang="ru-RU" sz="3200" b="1" dirty="0" smtClean="0">
                <a:solidFill>
                  <a:srgbClr val="00DE04"/>
                </a:solidFill>
                <a:latin typeface="Arial"/>
                <a:cs typeface="Arial"/>
              </a:rPr>
              <a:t>РОССИЯ – БОЛЬШАЯ </a:t>
            </a:r>
            <a:r>
              <a:rPr lang="ru-RU" sz="3200" b="1" dirty="0">
                <a:solidFill>
                  <a:srgbClr val="00DE04"/>
                </a:solidFill>
                <a:latin typeface="Arial"/>
                <a:cs typeface="Arial"/>
              </a:rPr>
              <a:t>СТРАНА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8727439" y="6614159"/>
            <a:ext cx="3432103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9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нные ВОЗ, НИИ Гриппа \ Погода 08 неделя 2016</a:t>
            </a:r>
            <a:endParaRPr lang="ru-RU" sz="9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Овал 67"/>
          <p:cNvSpPr/>
          <p:nvPr/>
        </p:nvSpPr>
        <p:spPr>
          <a:xfrm>
            <a:off x="4496117" y="4289515"/>
            <a:ext cx="731185" cy="731185"/>
          </a:xfrm>
          <a:prstGeom prst="ellipse">
            <a:avLst/>
          </a:prstGeom>
          <a:solidFill>
            <a:srgbClr val="E46C0A">
              <a:alpha val="8980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9" name="Овал 68"/>
          <p:cNvSpPr/>
          <p:nvPr/>
        </p:nvSpPr>
        <p:spPr>
          <a:xfrm>
            <a:off x="3939239" y="3825415"/>
            <a:ext cx="731185" cy="731185"/>
          </a:xfrm>
          <a:prstGeom prst="ellipse">
            <a:avLst/>
          </a:prstGeom>
          <a:solidFill>
            <a:srgbClr val="F1564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  <a:latin typeface="Calibri"/>
            </a:endParaRPr>
          </a:p>
        </p:txBody>
      </p:sp>
      <p:grpSp>
        <p:nvGrpSpPr>
          <p:cNvPr id="70" name="Группа 69"/>
          <p:cNvGrpSpPr/>
          <p:nvPr/>
        </p:nvGrpSpPr>
        <p:grpSpPr>
          <a:xfrm>
            <a:off x="9079652" y="2031150"/>
            <a:ext cx="1006195" cy="927962"/>
            <a:chOff x="9868246" y="1708068"/>
            <a:chExt cx="1238504" cy="1142208"/>
          </a:xfrm>
        </p:grpSpPr>
        <p:sp>
          <p:nvSpPr>
            <p:cNvPr id="76" name="Овал 75"/>
            <p:cNvSpPr/>
            <p:nvPr/>
          </p:nvSpPr>
          <p:spPr>
            <a:xfrm>
              <a:off x="9868246" y="1708068"/>
              <a:ext cx="1124712" cy="1142208"/>
            </a:xfrm>
            <a:prstGeom prst="ellipse">
              <a:avLst/>
            </a:prstGeom>
            <a:solidFill>
              <a:srgbClr val="E46C0A">
                <a:alpha val="89804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9868246" y="1963843"/>
              <a:ext cx="1238504" cy="6819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реднее превышение порога</a:t>
              </a:r>
              <a:endParaRPr lang="ru-RU" sz="1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71" name="Группа 70"/>
          <p:cNvGrpSpPr/>
          <p:nvPr/>
        </p:nvGrpSpPr>
        <p:grpSpPr>
          <a:xfrm>
            <a:off x="5520373" y="2200703"/>
            <a:ext cx="1382590" cy="3301708"/>
            <a:chOff x="5487208" y="1916768"/>
            <a:chExt cx="1701800" cy="4064000"/>
          </a:xfrm>
        </p:grpSpPr>
        <p:pic>
          <p:nvPicPr>
            <p:cNvPr id="74" name="Изображение 2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487208" y="1916768"/>
              <a:ext cx="1701800" cy="4064000"/>
            </a:xfrm>
            <a:prstGeom prst="rect">
              <a:avLst/>
            </a:prstGeom>
          </p:spPr>
        </p:pic>
        <p:sp>
          <p:nvSpPr>
            <p:cNvPr id="75" name="TextBox 74"/>
            <p:cNvSpPr txBox="1"/>
            <p:nvPr/>
          </p:nvSpPr>
          <p:spPr>
            <a:xfrm>
              <a:off x="5543484" y="3408025"/>
              <a:ext cx="1456317" cy="10228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ысокое превышение порога</a:t>
              </a:r>
            </a:p>
            <a:p>
              <a:r>
                <a:rPr lang="ru-RU" sz="1200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эпидемии</a:t>
              </a:r>
              <a:endParaRPr lang="ru-RU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73" name="Овал 72"/>
          <p:cNvSpPr/>
          <p:nvPr/>
        </p:nvSpPr>
        <p:spPr>
          <a:xfrm>
            <a:off x="3190693" y="3457517"/>
            <a:ext cx="459509" cy="459509"/>
          </a:xfrm>
          <a:prstGeom prst="ellipse">
            <a:avLst/>
          </a:prstGeom>
          <a:solidFill>
            <a:srgbClr val="E46C0A">
              <a:alpha val="8980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  <a:latin typeface="Calibri"/>
            </a:endParaRPr>
          </a:p>
        </p:txBody>
      </p:sp>
      <p:grpSp>
        <p:nvGrpSpPr>
          <p:cNvPr id="39" name="Группа 38"/>
          <p:cNvGrpSpPr/>
          <p:nvPr/>
        </p:nvGrpSpPr>
        <p:grpSpPr>
          <a:xfrm>
            <a:off x="1242192" y="1147912"/>
            <a:ext cx="8811908" cy="4565191"/>
            <a:chOff x="221288" y="620910"/>
            <a:chExt cx="10846385" cy="5619194"/>
          </a:xfrm>
        </p:grpSpPr>
        <p:sp>
          <p:nvSpPr>
            <p:cNvPr id="58" name="Овал 57"/>
            <p:cNvSpPr/>
            <p:nvPr/>
          </p:nvSpPr>
          <p:spPr>
            <a:xfrm>
              <a:off x="221288" y="3948766"/>
              <a:ext cx="753297" cy="753297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+</a:t>
              </a:r>
              <a:r>
                <a:rPr lang="ru-RU" sz="1200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1</a:t>
              </a:r>
              <a:endParaRPr lang="ru-RU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Овал 58"/>
            <p:cNvSpPr/>
            <p:nvPr/>
          </p:nvSpPr>
          <p:spPr>
            <a:xfrm>
              <a:off x="2764132" y="1764792"/>
              <a:ext cx="697008" cy="677504"/>
            </a:xfrm>
            <a:prstGeom prst="ellipse">
              <a:avLst/>
            </a:prstGeom>
            <a:solidFill>
              <a:srgbClr val="3F12F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3</a:t>
              </a:r>
              <a:endParaRPr lang="ru-RU" sz="1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0" name="Овал 59"/>
            <p:cNvSpPr/>
            <p:nvPr/>
          </p:nvSpPr>
          <p:spPr>
            <a:xfrm>
              <a:off x="1655773" y="2749234"/>
              <a:ext cx="697008" cy="677504"/>
            </a:xfrm>
            <a:prstGeom prst="ellipse">
              <a:avLst/>
            </a:prstGeom>
            <a:solidFill>
              <a:srgbClr val="3F12F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1</a:t>
              </a:r>
              <a:endParaRPr lang="ru-RU" sz="1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Овал 60"/>
            <p:cNvSpPr/>
            <p:nvPr/>
          </p:nvSpPr>
          <p:spPr>
            <a:xfrm>
              <a:off x="6954781" y="5223848"/>
              <a:ext cx="697008" cy="677504"/>
            </a:xfrm>
            <a:prstGeom prst="ellipse">
              <a:avLst/>
            </a:prstGeom>
            <a:solidFill>
              <a:srgbClr val="3F12F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9</a:t>
              </a:r>
              <a:endParaRPr lang="ru-RU" sz="1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Овал 61"/>
            <p:cNvSpPr/>
            <p:nvPr/>
          </p:nvSpPr>
          <p:spPr>
            <a:xfrm>
              <a:off x="10314377" y="5562600"/>
              <a:ext cx="697008" cy="677504"/>
            </a:xfrm>
            <a:prstGeom prst="ellipse">
              <a:avLst/>
            </a:prstGeom>
            <a:solidFill>
              <a:srgbClr val="3F12F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5</a:t>
              </a:r>
              <a:endParaRPr lang="ru-RU" sz="1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Овал 62"/>
            <p:cNvSpPr/>
            <p:nvPr/>
          </p:nvSpPr>
          <p:spPr>
            <a:xfrm>
              <a:off x="670176" y="3209152"/>
              <a:ext cx="697008" cy="677504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+1</a:t>
              </a:r>
              <a:endParaRPr lang="ru-RU" sz="1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6724315" y="4898546"/>
              <a:ext cx="123850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200" b="1" dirty="0" smtClean="0">
                  <a:solidFill>
                    <a:srgbClr val="3F12FC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Холодно</a:t>
              </a:r>
              <a:endParaRPr lang="ru-RU" sz="1200" b="1" dirty="0">
                <a:solidFill>
                  <a:srgbClr val="3F12FC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Овал 65"/>
            <p:cNvSpPr/>
            <p:nvPr/>
          </p:nvSpPr>
          <p:spPr>
            <a:xfrm>
              <a:off x="10314376" y="620910"/>
              <a:ext cx="753297" cy="753297"/>
            </a:xfrm>
            <a:prstGeom prst="ellipse">
              <a:avLst/>
            </a:prstGeom>
            <a:solidFill>
              <a:srgbClr val="3F12F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27</a:t>
              </a:r>
              <a:endParaRPr lang="ru-RU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9" name="TextBox 28"/>
          <p:cNvSpPr txBox="1"/>
          <p:nvPr/>
        </p:nvSpPr>
        <p:spPr>
          <a:xfrm>
            <a:off x="1548192" y="3814454"/>
            <a:ext cx="1006195" cy="2250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пло</a:t>
            </a:r>
            <a:endParaRPr lang="ru-RU" sz="12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Овал 71"/>
          <p:cNvSpPr/>
          <p:nvPr/>
        </p:nvSpPr>
        <p:spPr>
          <a:xfrm>
            <a:off x="1660261" y="2922479"/>
            <a:ext cx="459509" cy="459509"/>
          </a:xfrm>
          <a:prstGeom prst="ellipse">
            <a:avLst/>
          </a:prstGeom>
          <a:solidFill>
            <a:srgbClr val="E46C0A">
              <a:alpha val="8980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7" name="Овал 66"/>
          <p:cNvSpPr/>
          <p:nvPr/>
        </p:nvSpPr>
        <p:spPr>
          <a:xfrm>
            <a:off x="3100964" y="1548694"/>
            <a:ext cx="710119" cy="721166"/>
          </a:xfrm>
          <a:prstGeom prst="ellipse">
            <a:avLst/>
          </a:prstGeom>
          <a:solidFill>
            <a:srgbClr val="E46C0A">
              <a:alpha val="8980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78641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Изображение 29" descr="sergey-turkin-97457.jpg"/>
          <p:cNvPicPr>
            <a:picLocks noChangeAspect="1"/>
          </p:cNvPicPr>
          <p:nvPr/>
        </p:nvPicPr>
        <p:blipFill rotWithShape="1">
          <a:blip r:embed="rId3" cstate="print">
            <a:alphaModFix amt="4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84" b="651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28" name="Picture 4" descr="http://rcgit.ru/images/map-russia.png"/>
          <p:cNvPicPr>
            <a:picLocks noChangeAspect="1" noChangeArrowheads="1"/>
          </p:cNvPicPr>
          <p:nvPr/>
        </p:nvPicPr>
        <p:blipFill>
          <a:blip r:embed="rId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8277" y="627193"/>
            <a:ext cx="9855960" cy="5433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Диаграмма 14"/>
          <p:cNvGraphicFramePr/>
          <p:nvPr>
            <p:extLst>
              <p:ext uri="{D42A27DB-BD31-4B8C-83A1-F6EECF244321}">
                <p14:modId xmlns:p14="http://schemas.microsoft.com/office/powerpoint/2010/main" val="4137380488"/>
              </p:ext>
            </p:extLst>
          </p:nvPr>
        </p:nvGraphicFramePr>
        <p:xfrm>
          <a:off x="-12328" y="4351360"/>
          <a:ext cx="6096945" cy="25760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5" name="Название 1"/>
          <p:cNvSpPr>
            <a:spLocks noGrp="1"/>
          </p:cNvSpPr>
          <p:nvPr>
            <p:ph type="title"/>
          </p:nvPr>
        </p:nvSpPr>
        <p:spPr>
          <a:xfrm>
            <a:off x="609600" y="473291"/>
            <a:ext cx="6966857" cy="972744"/>
          </a:xfrm>
        </p:spPr>
        <p:txBody>
          <a:bodyPr/>
          <a:lstStyle/>
          <a:p>
            <a:pPr algn="l"/>
            <a:r>
              <a:rPr lang="ru-RU" sz="3200" b="1" dirty="0" smtClean="0">
                <a:solidFill>
                  <a:srgbClr val="00DE04"/>
                </a:solidFill>
                <a:latin typeface="Arial"/>
                <a:cs typeface="Arial"/>
              </a:rPr>
              <a:t>РОССИЯ – БОЛЬШАЯ СТРАНА</a:t>
            </a:r>
            <a:endParaRPr lang="ru-RU" sz="3200" b="1" dirty="0">
              <a:solidFill>
                <a:srgbClr val="00DE04"/>
              </a:solidFill>
              <a:latin typeface="Arial"/>
              <a:cs typeface="Arial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8727439" y="6614159"/>
            <a:ext cx="3432103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9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нные ВОЗ, НИИ Гриппа \ Погода 08 неделя 2016</a:t>
            </a:r>
            <a:endParaRPr lang="ru-RU" sz="9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945393" y="4699489"/>
            <a:ext cx="61122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en-US" sz="105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ru-RU" sz="105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lang="ru-RU" sz="105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Овал 67"/>
          <p:cNvSpPr/>
          <p:nvPr/>
        </p:nvSpPr>
        <p:spPr>
          <a:xfrm>
            <a:off x="4496117" y="4289515"/>
            <a:ext cx="731185" cy="731185"/>
          </a:xfrm>
          <a:prstGeom prst="ellipse">
            <a:avLst/>
          </a:prstGeom>
          <a:solidFill>
            <a:srgbClr val="E46C0A">
              <a:alpha val="8980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9" name="Овал 68"/>
          <p:cNvSpPr/>
          <p:nvPr/>
        </p:nvSpPr>
        <p:spPr>
          <a:xfrm>
            <a:off x="3939239" y="3825415"/>
            <a:ext cx="731185" cy="731185"/>
          </a:xfrm>
          <a:prstGeom prst="ellipse">
            <a:avLst/>
          </a:prstGeom>
          <a:solidFill>
            <a:srgbClr val="F1564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6" name="Овал 75"/>
          <p:cNvSpPr/>
          <p:nvPr/>
        </p:nvSpPr>
        <p:spPr>
          <a:xfrm>
            <a:off x="9079652" y="2031150"/>
            <a:ext cx="913748" cy="927962"/>
          </a:xfrm>
          <a:prstGeom prst="ellipse">
            <a:avLst/>
          </a:prstGeom>
          <a:solidFill>
            <a:srgbClr val="E46C0A">
              <a:alpha val="8980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74" name="Изображение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20374" y="2200703"/>
            <a:ext cx="1382590" cy="3301708"/>
          </a:xfrm>
          <a:prstGeom prst="rect">
            <a:avLst/>
          </a:prstGeom>
        </p:spPr>
      </p:pic>
      <p:sp>
        <p:nvSpPr>
          <p:cNvPr id="73" name="Овал 72"/>
          <p:cNvSpPr/>
          <p:nvPr/>
        </p:nvSpPr>
        <p:spPr>
          <a:xfrm>
            <a:off x="3190693" y="3457517"/>
            <a:ext cx="459509" cy="459509"/>
          </a:xfrm>
          <a:prstGeom prst="ellipse">
            <a:avLst/>
          </a:prstGeom>
          <a:solidFill>
            <a:srgbClr val="E46C0A">
              <a:alpha val="8980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9" name="Овал 58"/>
          <p:cNvSpPr/>
          <p:nvPr/>
        </p:nvSpPr>
        <p:spPr>
          <a:xfrm>
            <a:off x="3308070" y="2077234"/>
            <a:ext cx="566269" cy="550423"/>
          </a:xfrm>
          <a:prstGeom prst="ellipse">
            <a:avLst/>
          </a:prstGeom>
          <a:solidFill>
            <a:srgbClr val="3F12F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3</a:t>
            </a:r>
            <a:endParaRPr lang="ru-RU" sz="14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Овал 59"/>
          <p:cNvSpPr/>
          <p:nvPr/>
        </p:nvSpPr>
        <p:spPr>
          <a:xfrm>
            <a:off x="2407608" y="2877022"/>
            <a:ext cx="566269" cy="550423"/>
          </a:xfrm>
          <a:prstGeom prst="ellipse">
            <a:avLst/>
          </a:prstGeom>
          <a:solidFill>
            <a:srgbClr val="3F12F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1</a:t>
            </a:r>
            <a:endParaRPr lang="ru-RU" sz="14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Овал 60"/>
          <p:cNvSpPr/>
          <p:nvPr/>
        </p:nvSpPr>
        <p:spPr>
          <a:xfrm>
            <a:off x="6712671" y="4887468"/>
            <a:ext cx="566269" cy="550423"/>
          </a:xfrm>
          <a:prstGeom prst="ellipse">
            <a:avLst/>
          </a:prstGeom>
          <a:solidFill>
            <a:srgbClr val="3F12F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9</a:t>
            </a:r>
            <a:endParaRPr lang="ru-RU" sz="14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Овал 61"/>
          <p:cNvSpPr/>
          <p:nvPr/>
        </p:nvSpPr>
        <p:spPr>
          <a:xfrm>
            <a:off x="9442101" y="5162680"/>
            <a:ext cx="566269" cy="550423"/>
          </a:xfrm>
          <a:prstGeom prst="ellipse">
            <a:avLst/>
          </a:prstGeom>
          <a:solidFill>
            <a:srgbClr val="3F12F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5</a:t>
            </a:r>
            <a:endParaRPr lang="ru-RU" sz="14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Овал 62"/>
          <p:cNvSpPr/>
          <p:nvPr/>
        </p:nvSpPr>
        <p:spPr>
          <a:xfrm>
            <a:off x="1606881" y="3250673"/>
            <a:ext cx="566269" cy="550423"/>
          </a:xfrm>
          <a:prstGeom prst="ellipse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1</a:t>
            </a:r>
            <a:endParaRPr lang="ru-RU" sz="14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Овал 31"/>
          <p:cNvSpPr/>
          <p:nvPr/>
        </p:nvSpPr>
        <p:spPr>
          <a:xfrm>
            <a:off x="1242192" y="3851556"/>
            <a:ext cx="612000" cy="612000"/>
          </a:xfrm>
          <a:prstGeom prst="ellipse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r>
              <a:rPr lang="ru-RU" sz="12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</a:t>
            </a:r>
            <a:endParaRPr lang="ru-RU" sz="12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Овал 33"/>
          <p:cNvSpPr/>
          <p:nvPr/>
        </p:nvSpPr>
        <p:spPr>
          <a:xfrm>
            <a:off x="9442100" y="1147912"/>
            <a:ext cx="612000" cy="612000"/>
          </a:xfrm>
          <a:prstGeom prst="ellipse">
            <a:avLst/>
          </a:prstGeom>
          <a:solidFill>
            <a:srgbClr val="3F12F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27</a:t>
            </a:r>
            <a:endParaRPr lang="ru-RU" sz="12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Овал 66"/>
          <p:cNvSpPr/>
          <p:nvPr/>
        </p:nvSpPr>
        <p:spPr>
          <a:xfrm>
            <a:off x="3100964" y="1548694"/>
            <a:ext cx="710119" cy="721166"/>
          </a:xfrm>
          <a:prstGeom prst="ellipse">
            <a:avLst/>
          </a:prstGeom>
          <a:solidFill>
            <a:srgbClr val="E46C0A">
              <a:alpha val="8980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2" name="Овал 71"/>
          <p:cNvSpPr/>
          <p:nvPr/>
        </p:nvSpPr>
        <p:spPr>
          <a:xfrm>
            <a:off x="1660261" y="2922479"/>
            <a:ext cx="459509" cy="459509"/>
          </a:xfrm>
          <a:prstGeom prst="ellipse">
            <a:avLst/>
          </a:prstGeom>
          <a:solidFill>
            <a:srgbClr val="E46C0A">
              <a:alpha val="8980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69141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Изображение 1" descr="jason-leem-143987.jpg"/>
          <p:cNvPicPr>
            <a:picLocks noChangeAspect="1"/>
          </p:cNvPicPr>
          <p:nvPr/>
        </p:nvPicPr>
        <p:blipFill rotWithShape="1">
          <a:blip r:embed="rId3" cstate="print">
            <a:alphaModFix amt="4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874"/>
          <a:stretch/>
        </p:blipFill>
        <p:spPr>
          <a:xfrm>
            <a:off x="-23725" y="0"/>
            <a:ext cx="12215725" cy="6858000"/>
          </a:xfrm>
          <a:prstGeom prst="rect">
            <a:avLst/>
          </a:prstGeom>
        </p:spPr>
      </p:pic>
      <p:graphicFrame>
        <p:nvGraphicFramePr>
          <p:cNvPr id="19" name="Объект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48041317"/>
              </p:ext>
            </p:extLst>
          </p:nvPr>
        </p:nvGraphicFramePr>
        <p:xfrm>
          <a:off x="574807" y="1144739"/>
          <a:ext cx="10544756" cy="54504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1" name="TextBox 30"/>
          <p:cNvSpPr txBox="1"/>
          <p:nvPr/>
        </p:nvSpPr>
        <p:spPr>
          <a:xfrm>
            <a:off x="9525411" y="6079669"/>
            <a:ext cx="1086453" cy="253914"/>
          </a:xfrm>
          <a:prstGeom prst="rect">
            <a:avLst/>
          </a:prstGeom>
          <a:noFill/>
        </p:spPr>
        <p:txBody>
          <a:bodyPr wrap="square" lIns="91436" tIns="45719" rIns="91436" bIns="45719" rtlCol="0">
            <a:spAutoFit/>
          </a:bodyPr>
          <a:lstStyle>
            <a:defPPr>
              <a:defRPr lang="ru-RU"/>
            </a:defPPr>
            <a:lvl1pPr>
              <a:defRPr sz="90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algn="r"/>
            <a:r>
              <a:rPr lang="ru-RU" sz="1050" b="1" dirty="0" smtClean="0">
                <a:solidFill>
                  <a:schemeClr val="bg1"/>
                </a:solidFill>
                <a:latin typeface="Arial"/>
                <a:cs typeface="Arial"/>
              </a:rPr>
              <a:t>Конец мая 16</a:t>
            </a:r>
            <a:endParaRPr lang="ru-RU" sz="105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163247" y="6012119"/>
            <a:ext cx="1504412" cy="246219"/>
          </a:xfrm>
          <a:prstGeom prst="rect">
            <a:avLst/>
          </a:prstGeom>
          <a:noFill/>
        </p:spPr>
        <p:txBody>
          <a:bodyPr wrap="square" lIns="91436" tIns="45719" rIns="91436" bIns="45719" rtlCol="0">
            <a:spAutoFit/>
          </a:bodyPr>
          <a:lstStyle>
            <a:defPPr>
              <a:defRPr lang="ru-RU"/>
            </a:defPPr>
            <a:lvl1pPr>
              <a:defRPr sz="90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sz="1000" b="1" dirty="0" smtClean="0">
                <a:solidFill>
                  <a:schemeClr val="bg1"/>
                </a:solidFill>
                <a:latin typeface="Arial"/>
                <a:cs typeface="Arial"/>
              </a:rPr>
              <a:t>Конец сентября 15</a:t>
            </a:r>
            <a:endParaRPr lang="ru-RU" sz="10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4" name="TextBox 33"/>
          <p:cNvSpPr txBox="1"/>
          <p:nvPr/>
        </p:nvSpPr>
        <p:spPr>
          <a:xfrm rot="16200000">
            <a:off x="-454653" y="4340866"/>
            <a:ext cx="187459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5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ля трафика</a:t>
            </a:r>
            <a:endParaRPr lang="ru-RU" sz="105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 rot="16200000">
            <a:off x="10269512" y="4340866"/>
            <a:ext cx="178774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r>
              <a:rPr lang="ru-RU" sz="105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заболевших</a:t>
            </a:r>
            <a:endParaRPr lang="ru-RU" sz="105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586480" y="5368171"/>
            <a:ext cx="5486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болеваемость простудой (ОРВИ + Грипп)</a:t>
            </a:r>
            <a:endParaRPr lang="ru-RU" b="1" dirty="0"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890490" y="1598829"/>
            <a:ext cx="28143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афик в лекарствах от простуды</a:t>
            </a:r>
            <a:endParaRPr lang="ru-RU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50" name="Picture 2" descr="Здоровье Mail.Ru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9848" y="2245160"/>
            <a:ext cx="1635604" cy="298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0288" y="5257599"/>
            <a:ext cx="1780952" cy="590476"/>
          </a:xfrm>
          <a:prstGeom prst="rect">
            <a:avLst/>
          </a:prstGeom>
        </p:spPr>
      </p:pic>
      <p:pic>
        <p:nvPicPr>
          <p:cNvPr id="2052" name="Picture 4" descr="http://www.influenza.spb.ru/i/logo/logonew-rus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2440" y="5298129"/>
            <a:ext cx="585898" cy="590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Название 1"/>
          <p:cNvSpPr>
            <a:spLocks noGrp="1"/>
          </p:cNvSpPr>
          <p:nvPr>
            <p:ph type="title"/>
          </p:nvPr>
        </p:nvSpPr>
        <p:spPr>
          <a:xfrm>
            <a:off x="609600" y="473291"/>
            <a:ext cx="9685792" cy="972744"/>
          </a:xfrm>
        </p:spPr>
        <p:txBody>
          <a:bodyPr/>
          <a:lstStyle/>
          <a:p>
            <a:pPr algn="l"/>
            <a:r>
              <a:rPr lang="ru-RU" b="1" dirty="0" smtClean="0">
                <a:solidFill>
                  <a:srgbClr val="00DE04"/>
                </a:solidFill>
                <a:latin typeface="Arial"/>
                <a:cs typeface="Arial"/>
              </a:rPr>
              <a:t>БОЛЬШОЙ СТРАНЕ –</a:t>
            </a:r>
            <a:r>
              <a:rPr lang="en-US" b="1" dirty="0" smtClean="0">
                <a:solidFill>
                  <a:srgbClr val="00DE04"/>
                </a:solidFill>
                <a:latin typeface="Arial"/>
                <a:cs typeface="Arial"/>
              </a:rPr>
              <a:t/>
            </a:r>
            <a:br>
              <a:rPr lang="en-US" b="1" dirty="0" smtClean="0">
                <a:solidFill>
                  <a:srgbClr val="00DE04"/>
                </a:solidFill>
                <a:latin typeface="Arial"/>
                <a:cs typeface="Arial"/>
              </a:rPr>
            </a:br>
            <a:r>
              <a:rPr lang="ru-RU" b="1" dirty="0" smtClean="0">
                <a:solidFill>
                  <a:srgbClr val="00DE04"/>
                </a:solidFill>
                <a:latin typeface="Arial"/>
                <a:cs typeface="Arial"/>
              </a:rPr>
              <a:t>БОЛЬШИЕ ДАННЫЕ</a:t>
            </a:r>
            <a:endParaRPr lang="ru-RU" b="1" dirty="0">
              <a:solidFill>
                <a:srgbClr val="00DE04"/>
              </a:solidFill>
              <a:latin typeface="Arial"/>
              <a:cs typeface="Arial"/>
            </a:endParaRPr>
          </a:p>
        </p:txBody>
      </p:sp>
      <p:pic>
        <p:nvPicPr>
          <p:cNvPr id="37" name="Picture 4" descr="http://www.wallpapersxl.com/wallpapers/1920x1200/memes/90318/memes-meme-nicolas-cage-90318.jpg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90349" y="5145542"/>
            <a:ext cx="1091347" cy="682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TextBox 37"/>
          <p:cNvSpPr txBox="1"/>
          <p:nvPr/>
        </p:nvSpPr>
        <p:spPr>
          <a:xfrm>
            <a:off x="3849727" y="6052649"/>
            <a:ext cx="1224426" cy="246219"/>
          </a:xfrm>
          <a:prstGeom prst="rect">
            <a:avLst/>
          </a:prstGeom>
          <a:noFill/>
        </p:spPr>
        <p:txBody>
          <a:bodyPr wrap="square" lIns="91436" tIns="45719" rIns="91436" bIns="45719" rtlCol="0">
            <a:spAutoFit/>
          </a:bodyPr>
          <a:lstStyle>
            <a:defPPr>
              <a:defRPr lang="ru-RU"/>
            </a:defPPr>
            <a:lvl1pPr>
              <a:defRPr sz="90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sz="1000" b="1" dirty="0" smtClean="0">
                <a:solidFill>
                  <a:schemeClr val="bg1"/>
                </a:solidFill>
                <a:latin typeface="Arial"/>
                <a:cs typeface="Arial"/>
              </a:rPr>
              <a:t>Новый год 16</a:t>
            </a:r>
            <a:endParaRPr lang="ru-RU" sz="10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6891026" y="6012120"/>
            <a:ext cx="1224426" cy="246219"/>
          </a:xfrm>
          <a:prstGeom prst="rect">
            <a:avLst/>
          </a:prstGeom>
          <a:noFill/>
        </p:spPr>
        <p:txBody>
          <a:bodyPr wrap="square" lIns="91436" tIns="45719" rIns="91436" bIns="45719" rtlCol="0">
            <a:spAutoFit/>
          </a:bodyPr>
          <a:lstStyle>
            <a:defPPr>
              <a:defRPr lang="ru-RU"/>
            </a:defPPr>
            <a:lvl1pPr>
              <a:defRPr sz="90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sz="1000" b="1" dirty="0" smtClean="0">
                <a:solidFill>
                  <a:schemeClr val="bg1"/>
                </a:solidFill>
                <a:latin typeface="Arial"/>
                <a:cs typeface="Arial"/>
              </a:rPr>
              <a:t>Март 16</a:t>
            </a:r>
            <a:endParaRPr lang="ru-RU" sz="10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0653702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азвание 1"/>
          <p:cNvSpPr txBox="1">
            <a:spLocks/>
          </p:cNvSpPr>
          <p:nvPr/>
        </p:nvSpPr>
        <p:spPr>
          <a:xfrm>
            <a:off x="6255597" y="733339"/>
            <a:ext cx="5526005" cy="1472145"/>
          </a:xfrm>
          <a:prstGeom prst="rect">
            <a:avLst/>
          </a:prstGeom>
        </p:spPr>
        <p:txBody>
          <a:bodyPr lIns="117226" tIns="58613" rIns="117226" bIns="58613"/>
          <a:lstStyle>
            <a:lvl1pPr algn="ctr" defTabSz="586130" rtl="0" eaLnBrk="1" latinLnBrk="0" hangingPunct="1">
              <a:spcBef>
                <a:spcPct val="0"/>
              </a:spcBef>
              <a:buNone/>
              <a:defRPr sz="3600" b="0" kern="1200">
                <a:solidFill>
                  <a:srgbClr val="23A0F2"/>
                </a:solidFill>
                <a:latin typeface="Gotham Pro Medium"/>
                <a:ea typeface="+mj-ea"/>
                <a:cs typeface="Gotham Pro Medium"/>
              </a:defRPr>
            </a:lvl1pPr>
          </a:lstStyle>
          <a:p>
            <a:pPr algn="l"/>
            <a:r>
              <a:rPr lang="ru-RU" sz="2800" b="1" dirty="0" smtClean="0">
                <a:solidFill>
                  <a:schemeClr val="bg1"/>
                </a:solidFill>
                <a:latin typeface="Arial"/>
                <a:cs typeface="Arial"/>
              </a:rPr>
              <a:t>БОЛЬШИМ ДАННЫМ – ПРАВИЛЬНОЕ ПРИМЕНЕНИЕ</a:t>
            </a:r>
            <a:endParaRPr lang="ru-RU" sz="28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364224" y="1907311"/>
            <a:ext cx="5353369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ДЕЛЕНИЕ СТАТИСТИКИ ПО РЕГИОНАМ</a:t>
            </a:r>
            <a:b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1600" dirty="0" smtClean="0">
              <a:solidFill>
                <a:srgbClr val="00DE0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600" dirty="0" smtClean="0">
              <a:solidFill>
                <a:srgbClr val="00DE0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 smtClean="0">
                <a:solidFill>
                  <a:srgbClr val="00DE0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ЖЕДНЕВОЕ ОБНОВЛЕНИЕ ИНДЕКСОВ</a:t>
            </a:r>
          </a:p>
          <a:p>
            <a:endParaRPr lang="ru-RU" sz="16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6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КАЗАННАЯ КОРРЕЛЯЦИЯ</a:t>
            </a:r>
          </a:p>
          <a:p>
            <a:endParaRPr lang="ru-RU" sz="16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 smtClean="0">
                <a:solidFill>
                  <a:srgbClr val="00DE0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ИГГЕРЫ </a:t>
            </a:r>
            <a:r>
              <a:rPr lang="ru-RU" sz="1600" dirty="0">
                <a:solidFill>
                  <a:srgbClr val="00DE0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ПРОСТУДЕ И </a:t>
            </a:r>
            <a:r>
              <a:rPr lang="ru-RU" sz="1600" dirty="0" smtClean="0">
                <a:solidFill>
                  <a:srgbClr val="00DE0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ЛЕРГИИ</a:t>
            </a:r>
          </a:p>
          <a:p>
            <a:endParaRPr lang="ru-RU" sz="16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ЫЕ ДЕНЬГИ ПОЯВЛЯЮТСЯ В СВОЕВРЕМЕННОЙ МОТИВАЦИИ К ПОКУПКЕ</a:t>
            </a:r>
          </a:p>
        </p:txBody>
      </p:sp>
      <p:pic>
        <p:nvPicPr>
          <p:cNvPr id="3074" name="Picture 2" descr="Рейтинг Mail.Ru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135" y="5796115"/>
            <a:ext cx="1804995" cy="34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Здоровье Mail.Ru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8519" y="5796115"/>
            <a:ext cx="1871495" cy="34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Изображение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40234" y="2211480"/>
            <a:ext cx="3806157" cy="3184236"/>
          </a:xfrm>
          <a:prstGeom prst="rect">
            <a:avLst/>
          </a:prstGeom>
        </p:spPr>
      </p:pic>
      <p:sp>
        <p:nvSpPr>
          <p:cNvPr id="8" name="object 6"/>
          <p:cNvSpPr/>
          <p:nvPr/>
        </p:nvSpPr>
        <p:spPr>
          <a:xfrm>
            <a:off x="266535" y="376318"/>
            <a:ext cx="11649132" cy="6262165"/>
          </a:xfrm>
          <a:custGeom>
            <a:avLst/>
            <a:gdLst/>
            <a:ahLst/>
            <a:cxnLst/>
            <a:rect l="l" t="t" r="r" b="b"/>
            <a:pathLst>
              <a:path w="9714865" h="6557645">
                <a:moveTo>
                  <a:pt x="0" y="6557022"/>
                </a:moveTo>
                <a:lnTo>
                  <a:pt x="9714598" y="6557022"/>
                </a:lnTo>
                <a:lnTo>
                  <a:pt x="9714598" y="0"/>
                </a:lnTo>
                <a:lnTo>
                  <a:pt x="0" y="0"/>
                </a:lnTo>
                <a:lnTo>
                  <a:pt x="0" y="6557022"/>
                </a:lnTo>
                <a:close/>
              </a:path>
            </a:pathLst>
          </a:custGeom>
          <a:noFill/>
          <a:ln w="173355">
            <a:solidFill>
              <a:srgbClr val="00DE0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691170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5984321" y="1"/>
            <a:ext cx="6207679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TextBox 7"/>
          <p:cNvSpPr txBox="1"/>
          <p:nvPr/>
        </p:nvSpPr>
        <p:spPr>
          <a:xfrm>
            <a:off x="710742" y="2485360"/>
            <a:ext cx="44830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rgbClr val="208CEE"/>
              </a:buClr>
              <a:buSzPct val="140000"/>
            </a:pPr>
            <a:r>
              <a:rPr lang="ru-RU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Arial"/>
              </a:rPr>
              <a:t>Корреляция в 59 регионах </a:t>
            </a:r>
            <a:r>
              <a:rPr lang="en-US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Arial"/>
              </a:rPr>
              <a:t>&gt;</a:t>
            </a:r>
            <a:r>
              <a:rPr lang="ru-RU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Arial"/>
              </a:rPr>
              <a:t> 0,6</a:t>
            </a:r>
          </a:p>
          <a:p>
            <a:pPr algn="ctr">
              <a:buClr>
                <a:srgbClr val="208CEE"/>
              </a:buClr>
              <a:buSzPct val="140000"/>
            </a:pPr>
            <a:r>
              <a:rPr lang="en-US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Arial"/>
              </a:rPr>
              <a:t>82 </a:t>
            </a:r>
            <a:r>
              <a:rPr lang="ru-RU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Arial"/>
              </a:rPr>
              <a:t>региона каждый </a:t>
            </a:r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Arial"/>
              </a:rPr>
              <a:t>день весь сезон</a:t>
            </a:r>
            <a:endParaRPr lang="ru-RU" b="1" dirty="0">
              <a:solidFill>
                <a:schemeClr val="tx1">
                  <a:lumMod val="95000"/>
                  <a:lumOff val="5000"/>
                </a:schemeClr>
              </a:solidFill>
              <a:latin typeface="Arial"/>
              <a:cs typeface="Arial"/>
            </a:endParaRPr>
          </a:p>
        </p:txBody>
      </p:sp>
      <p:graphicFrame>
        <p:nvGraphicFramePr>
          <p:cNvPr id="9" name="Объект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177352"/>
              </p:ext>
            </p:extLst>
          </p:nvPr>
        </p:nvGraphicFramePr>
        <p:xfrm>
          <a:off x="231036" y="3759200"/>
          <a:ext cx="5665787" cy="23774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3" name="Picture 4" descr="http://www.influenza.spb.ru/i/logo/logonew-rus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540000">
            <a:off x="2659318" y="1130616"/>
            <a:ext cx="585898" cy="590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Название 1"/>
          <p:cNvSpPr txBox="1">
            <a:spLocks/>
          </p:cNvSpPr>
          <p:nvPr/>
        </p:nvSpPr>
        <p:spPr>
          <a:xfrm>
            <a:off x="6605056" y="2808525"/>
            <a:ext cx="5020055" cy="1298430"/>
          </a:xfrm>
          <a:prstGeom prst="rect">
            <a:avLst/>
          </a:prstGeom>
        </p:spPr>
        <p:txBody>
          <a:bodyPr lIns="117226" tIns="58613" rIns="117226" bIns="58613"/>
          <a:lstStyle>
            <a:lvl1pPr algn="ctr" defTabSz="586130" rtl="0" eaLnBrk="1" latinLnBrk="0" hangingPunct="1">
              <a:spcBef>
                <a:spcPct val="0"/>
              </a:spcBef>
              <a:buNone/>
              <a:defRPr sz="3600" b="0" kern="1200">
                <a:solidFill>
                  <a:srgbClr val="23A0F2"/>
                </a:solidFill>
                <a:latin typeface="Gotham Pro Medium"/>
                <a:ea typeface="+mj-ea"/>
                <a:cs typeface="Gotham Pro Medium"/>
              </a:defRPr>
            </a:lvl1pPr>
          </a:lstStyle>
          <a:p>
            <a:r>
              <a:rPr lang="ru-RU" sz="2400" b="1" dirty="0" smtClean="0">
                <a:solidFill>
                  <a:schemeClr val="bg1"/>
                </a:solidFill>
                <a:latin typeface="Arial"/>
                <a:cs typeface="Arial"/>
              </a:rPr>
              <a:t>ПРОШЕДШИЙ СЕЗОН</a:t>
            </a:r>
          </a:p>
          <a:p>
            <a:r>
              <a:rPr lang="ru-RU" sz="2400" b="1" dirty="0">
                <a:solidFill>
                  <a:schemeClr val="bg1"/>
                </a:solidFill>
                <a:latin typeface="Arial"/>
                <a:cs typeface="Arial"/>
              </a:rPr>
              <a:t>– </a:t>
            </a:r>
            <a:endParaRPr lang="ru-RU" sz="2400" b="1" dirty="0" smtClean="0">
              <a:solidFill>
                <a:schemeClr val="bg1"/>
              </a:solidFill>
              <a:latin typeface="Arial"/>
              <a:cs typeface="Arial"/>
            </a:endParaRPr>
          </a:p>
          <a:p>
            <a:r>
              <a:rPr lang="ru-RU" sz="2400" b="1" dirty="0" smtClean="0">
                <a:solidFill>
                  <a:schemeClr val="bg1"/>
                </a:solidFill>
                <a:latin typeface="Arial"/>
                <a:cs typeface="Arial"/>
              </a:rPr>
              <a:t>ДОКАЗАННАЯ КОРРЕЛЯЦИЯ </a:t>
            </a:r>
            <a:endParaRPr lang="ru-RU" sz="24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022627" y="1689296"/>
            <a:ext cx="18592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Arial"/>
              </a:rPr>
              <a:t>НИИ Гриппа</a:t>
            </a:r>
          </a:p>
        </p:txBody>
      </p:sp>
    </p:spTree>
    <p:extLst>
      <p:ext uri="{BB962C8B-B14F-4D97-AF65-F5344CB8AC3E}">
        <p14:creationId xmlns:p14="http://schemas.microsoft.com/office/powerpoint/2010/main" val="138436409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9faath0RrOc1ThrbrYqA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991</TotalTime>
  <Words>352</Words>
  <Application>Microsoft Office PowerPoint</Application>
  <PresentationFormat>Широкоэкранный</PresentationFormat>
  <Paragraphs>115</Paragraphs>
  <Slides>13</Slides>
  <Notes>7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2</vt:i4>
      </vt:variant>
      <vt:variant>
        <vt:lpstr>Заголовки слайдов</vt:lpstr>
      </vt:variant>
      <vt:variant>
        <vt:i4>13</vt:i4>
      </vt:variant>
    </vt:vector>
  </HeadingPairs>
  <TitlesOfParts>
    <vt:vector size="20" baseType="lpstr">
      <vt:lpstr>Arial</vt:lpstr>
      <vt:lpstr>Calibri</vt:lpstr>
      <vt:lpstr>Calibri Light</vt:lpstr>
      <vt:lpstr>Gotham Pro</vt:lpstr>
      <vt:lpstr>Gotham Pro Medium</vt:lpstr>
      <vt:lpstr>Тема Office</vt:lpstr>
      <vt:lpstr>3_Тема Office</vt:lpstr>
      <vt:lpstr>Презентация PowerPoint</vt:lpstr>
      <vt:lpstr>ПРЕДПОСЫЛКИ</vt:lpstr>
      <vt:lpstr>РОССИЯ – БОЛЬШАЯ СТРАНА</vt:lpstr>
      <vt:lpstr>РОССИЯ – БОЛЬШАЯ СТРАНА</vt:lpstr>
      <vt:lpstr>РОССИЯ – БОЛЬШАЯ СТРАНА</vt:lpstr>
      <vt:lpstr>РОССИЯ – БОЛЬШАЯ СТРАНА</vt:lpstr>
      <vt:lpstr>БОЛЬШОЙ СТРАНЕ – БОЛЬШИЕ ДАННЫЕ</vt:lpstr>
      <vt:lpstr>Презентация PowerPoint</vt:lpstr>
      <vt:lpstr>Презентация PowerPoint</vt:lpstr>
      <vt:lpstr>Презентация PowerPoint</vt:lpstr>
      <vt:lpstr>Презентация PowerPoint</vt:lpstr>
      <vt:lpstr>ТРИГГЕРНАЯ ПЛАТФОРМА УЖЕ ПРИМЕНЯЕТСЯ </vt:lpstr>
      <vt:lpstr>ИЗМЕНЯЕМ СОЗНАНИЕ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Триггерная платформа</dc:title>
  <dc:creator>Oganesyan Igor</dc:creator>
  <cp:lastModifiedBy>Oganesyan Igor</cp:lastModifiedBy>
  <cp:revision>349</cp:revision>
  <cp:lastPrinted>2016-11-16T13:13:37Z</cp:lastPrinted>
  <dcterms:created xsi:type="dcterms:W3CDTF">2016-07-05T09:46:47Z</dcterms:created>
  <dcterms:modified xsi:type="dcterms:W3CDTF">2017-05-24T07:14:32Z</dcterms:modified>
</cp:coreProperties>
</file>